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9"/>
  </p:notesMasterIdLst>
  <p:sldIdLst>
    <p:sldId id="256" r:id="rId2"/>
    <p:sldId id="2295" r:id="rId3"/>
    <p:sldId id="2317" r:id="rId4"/>
    <p:sldId id="2301" r:id="rId5"/>
    <p:sldId id="2318" r:id="rId6"/>
    <p:sldId id="2319" r:id="rId7"/>
    <p:sldId id="2296" r:id="rId8"/>
    <p:sldId id="2320" r:id="rId9"/>
    <p:sldId id="2302" r:id="rId10"/>
    <p:sldId id="2309" r:id="rId11"/>
    <p:sldId id="2321" r:id="rId12"/>
    <p:sldId id="2322" r:id="rId13"/>
    <p:sldId id="2311" r:id="rId14"/>
    <p:sldId id="2312" r:id="rId15"/>
    <p:sldId id="2314" r:id="rId16"/>
    <p:sldId id="2310" r:id="rId17"/>
    <p:sldId id="2315" r:id="rId18"/>
  </p:sldIdLst>
  <p:sldSz cx="18288000" cy="10287000"/>
  <p:notesSz cx="6858000" cy="9144000"/>
  <p:embeddedFontLst>
    <p:embeddedFont>
      <p:font typeface="Clear Sans Regular" panose="020B0604020202020204" charset="0"/>
      <p:regular r:id="rId20"/>
    </p:embeddedFont>
    <p:embeddedFont>
      <p:font typeface="Verdana" panose="020B0604030504040204" pitchFamily="34" charset="0"/>
      <p:regular r:id="rId21"/>
      <p:bold r:id="rId22"/>
      <p:italic r:id="rId23"/>
      <p:boldItalic r:id="rId24"/>
    </p:embeddedFont>
    <p:embeddedFont>
      <p:font typeface="Century Gothic" panose="020B0502020202020204" pitchFamily="34" charset="0"/>
      <p:regular r:id="rId25"/>
      <p:bold r:id="rId26"/>
      <p:italic r:id="rId27"/>
      <p:boldItalic r:id="rId28"/>
    </p:embeddedFont>
    <p:embeddedFont>
      <p:font typeface="Calibri" panose="020F0502020204030204" pitchFamily="34" charset="0"/>
      <p:regular r:id="rId29"/>
      <p:bold r:id="rId30"/>
      <p:italic r:id="rId31"/>
      <p:boldItalic r:id="rId3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din c2g" initials="Gc" lastIdx="1" clrIdx="0">
    <p:extLst>
      <p:ext uri="{19B8F6BF-5375-455C-9EA6-DF929625EA0E}">
        <p15:presenceInfo xmlns:p15="http://schemas.microsoft.com/office/powerpoint/2012/main" userId="Gudin c2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4047"/>
    <a:srgbClr val="7F7F7F"/>
    <a:srgbClr val="A6A6A6"/>
    <a:srgbClr val="3D4248"/>
    <a:srgbClr val="8D9090"/>
    <a:srgbClr val="8C8E8E"/>
    <a:srgbClr val="F6252D"/>
    <a:srgbClr val="565760"/>
    <a:srgbClr val="F2595F"/>
    <a:srgbClr val="F6F6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5" autoAdjust="0"/>
    <p:restoredTop sz="95931" autoAdjust="0"/>
  </p:normalViewPr>
  <p:slideViewPr>
    <p:cSldViewPr>
      <p:cViewPr varScale="1">
        <p:scale>
          <a:sx n="65" d="100"/>
          <a:sy n="65" d="100"/>
        </p:scale>
        <p:origin x="596" y="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7.fntdata"/><Relationship Id="rId21" Type="http://schemas.openxmlformats.org/officeDocument/2006/relationships/font" Target="fonts/font2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331FCF-07AB-4A62-9675-627DBB103F78}" type="datetimeFigureOut">
              <a:rPr lang="ru-RU" smtClean="0"/>
              <a:t>24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3D9004-0C1B-4A9A-97A5-16C044B1B51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1507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43DA21-8629-4CB2-ACF7-F59F29DBC25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0708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53982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27707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61953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23467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54286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1786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9442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03565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8998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5439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66580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74264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82173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5674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Blue_shape">
            <a:extLst>
              <a:ext uri="{FF2B5EF4-FFF2-40B4-BE49-F238E27FC236}">
                <a16:creationId xmlns:a16="http://schemas.microsoft.com/office/drawing/2014/main" id="{6E63E288-2210-4888-8587-1EA27D3ADE16}"/>
              </a:ext>
            </a:extLst>
          </p:cNvPr>
          <p:cNvSpPr/>
          <p:nvPr userDrawn="1"/>
        </p:nvSpPr>
        <p:spPr>
          <a:xfrm>
            <a:off x="0" y="0"/>
            <a:ext cx="144855" cy="10296000"/>
          </a:xfrm>
          <a:prstGeom prst="rect">
            <a:avLst/>
          </a:prstGeom>
          <a:solidFill>
            <a:srgbClr val="FF0000"/>
          </a:solidFill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1446B6-5BFF-49F3-882E-172FF400DF5A}"/>
              </a:ext>
            </a:extLst>
          </p:cNvPr>
          <p:cNvSpPr txBox="1"/>
          <p:nvPr userDrawn="1"/>
        </p:nvSpPr>
        <p:spPr>
          <a:xfrm>
            <a:off x="15730911" y="9526416"/>
            <a:ext cx="629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/>
            <a:fld id="{E4CAEAF2-6028-264D-AE0C-6A7A3A188EF7}" type="slidenum">
              <a:rPr lang="en-US" sz="1800" b="0" i="0" baseline="0" smtClean="0">
                <a:solidFill>
                  <a:srgbClr val="3D4248"/>
                </a:solidFill>
                <a:latin typeface="Century Gothic" charset="0"/>
                <a:ea typeface="Century Gothic" charset="0"/>
                <a:cs typeface="Century Gothic" charset="0"/>
              </a:rPr>
              <a:pPr marL="0"/>
              <a:t>‹#›</a:t>
            </a:fld>
            <a:endParaRPr lang="hr-HR" sz="2100" b="0" i="0" baseline="0" dirty="0">
              <a:solidFill>
                <a:srgbClr val="3D4248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Blue_shape">
            <a:extLst>
              <a:ext uri="{FF2B5EF4-FFF2-40B4-BE49-F238E27FC236}">
                <a16:creationId xmlns:a16="http://schemas.microsoft.com/office/drawing/2014/main" id="{8ED26D2B-7C87-4AA7-9EF3-D8147E362147}"/>
              </a:ext>
            </a:extLst>
          </p:cNvPr>
          <p:cNvSpPr/>
          <p:nvPr userDrawn="1"/>
        </p:nvSpPr>
        <p:spPr>
          <a:xfrm>
            <a:off x="0" y="0"/>
            <a:ext cx="144855" cy="10296000"/>
          </a:xfrm>
          <a:prstGeom prst="rect">
            <a:avLst/>
          </a:prstGeom>
          <a:solidFill>
            <a:srgbClr val="FF0000"/>
          </a:solidFill>
        </p:spPr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ossing_slide_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re_headline">
            <a:extLst>
              <a:ext uri="{FF2B5EF4-FFF2-40B4-BE49-F238E27FC236}">
                <a16:creationId xmlns:a16="http://schemas.microsoft.com/office/drawing/2014/main" id="{D78F5E9C-4193-AE4B-963C-A6B39CAA5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3082" y="4601603"/>
            <a:ext cx="11707929" cy="1083795"/>
          </a:xfrm>
          <a:prstGeom prst="rect">
            <a:avLst/>
          </a:prstGeom>
        </p:spPr>
        <p:txBody>
          <a:bodyPr/>
          <a:lstStyle>
            <a:lvl1pPr marL="0" algn="l" defTabSz="1371600" rtl="0" eaLnBrk="1" latinLnBrk="0" hangingPunct="1">
              <a:spcBef>
                <a:spcPct val="0"/>
              </a:spcBef>
              <a:buNone/>
              <a:defRPr lang="ru-RU" sz="360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charset="0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4215059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Blue_shape">
            <a:extLst>
              <a:ext uri="{FF2B5EF4-FFF2-40B4-BE49-F238E27FC236}">
                <a16:creationId xmlns:a16="http://schemas.microsoft.com/office/drawing/2014/main" id="{C8DC52D7-C44E-4AE2-9032-577259B8B2A4}"/>
              </a:ext>
            </a:extLst>
          </p:cNvPr>
          <p:cNvSpPr/>
          <p:nvPr userDrawn="1"/>
        </p:nvSpPr>
        <p:spPr>
          <a:xfrm>
            <a:off x="0" y="0"/>
            <a:ext cx="144855" cy="10296000"/>
          </a:xfrm>
          <a:prstGeom prst="rect">
            <a:avLst/>
          </a:prstGeom>
          <a:solidFill>
            <a:srgbClr val="FF0000"/>
          </a:solidFill>
        </p:spPr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Blue_shape">
            <a:extLst>
              <a:ext uri="{FF2B5EF4-FFF2-40B4-BE49-F238E27FC236}">
                <a16:creationId xmlns:a16="http://schemas.microsoft.com/office/drawing/2014/main" id="{764A8E87-6D36-45D6-8F86-691AFA0E91F0}"/>
              </a:ext>
            </a:extLst>
          </p:cNvPr>
          <p:cNvSpPr/>
          <p:nvPr userDrawn="1"/>
        </p:nvSpPr>
        <p:spPr>
          <a:xfrm>
            <a:off x="0" y="0"/>
            <a:ext cx="144855" cy="10296000"/>
          </a:xfrm>
          <a:prstGeom prst="rect">
            <a:avLst/>
          </a:prstGeom>
          <a:solidFill>
            <a:srgbClr val="FF0000"/>
          </a:solidFill>
        </p:spPr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Blue_shape">
            <a:extLst>
              <a:ext uri="{FF2B5EF4-FFF2-40B4-BE49-F238E27FC236}">
                <a16:creationId xmlns:a16="http://schemas.microsoft.com/office/drawing/2014/main" id="{5D632840-E7C7-4601-AFCC-D25546310FA3}"/>
              </a:ext>
            </a:extLst>
          </p:cNvPr>
          <p:cNvSpPr/>
          <p:nvPr userDrawn="1"/>
        </p:nvSpPr>
        <p:spPr>
          <a:xfrm>
            <a:off x="0" y="0"/>
            <a:ext cx="144855" cy="10296000"/>
          </a:xfrm>
          <a:prstGeom prst="rect">
            <a:avLst/>
          </a:prstGeom>
          <a:solidFill>
            <a:srgbClr val="FF0000"/>
          </a:solidFill>
        </p:spPr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58CB7FF-E05B-4E28-BC05-92018C830BC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73400" y="416254"/>
            <a:ext cx="1905000" cy="42988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image" Target="../media/image63.jpe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png"/><Relationship Id="rId11" Type="http://schemas.openxmlformats.org/officeDocument/2006/relationships/image" Target="../media/image8.png"/><Relationship Id="rId5" Type="http://schemas.openxmlformats.org/officeDocument/2006/relationships/image" Target="../media/image62.png"/><Relationship Id="rId10" Type="http://schemas.openxmlformats.org/officeDocument/2006/relationships/image" Target="../media/image64.png"/><Relationship Id="rId4" Type="http://schemas.openxmlformats.org/officeDocument/2006/relationships/image" Target="../media/image60.png"/><Relationship Id="rId9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65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0.png"/><Relationship Id="rId5" Type="http://schemas.openxmlformats.org/officeDocument/2006/relationships/image" Target="../media/image44.png"/><Relationship Id="rId4" Type="http://schemas.openxmlformats.org/officeDocument/2006/relationships/image" Target="../media/image6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67.jpe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44.png"/><Relationship Id="rId4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2.xml"/><Relationship Id="rId7" Type="http://schemas.microsoft.com/office/2007/relationships/hdphoto" Target="../media/hdphoto6.wdp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42.png"/><Relationship Id="rId5" Type="http://schemas.openxmlformats.org/officeDocument/2006/relationships/image" Target="../media/image68.jpeg"/><Relationship Id="rId10" Type="http://schemas.openxmlformats.org/officeDocument/2006/relationships/image" Target="../media/image62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6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69.jpe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70.jpeg"/><Relationship Id="rId7" Type="http://schemas.microsoft.com/office/2007/relationships/hdphoto" Target="../media/hdphoto6.wdp"/><Relationship Id="rId12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11" Type="http://schemas.openxmlformats.org/officeDocument/2006/relationships/image" Target="../media/image60.png"/><Relationship Id="rId5" Type="http://schemas.openxmlformats.org/officeDocument/2006/relationships/image" Target="../media/image44.png"/><Relationship Id="rId10" Type="http://schemas.openxmlformats.org/officeDocument/2006/relationships/image" Target="../media/image72.png"/><Relationship Id="rId4" Type="http://schemas.openxmlformats.org/officeDocument/2006/relationships/image" Target="../media/image43.png"/><Relationship Id="rId9" Type="http://schemas.openxmlformats.org/officeDocument/2006/relationships/image" Target="../media/image7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73.png"/><Relationship Id="rId7" Type="http://schemas.microsoft.com/office/2007/relationships/hdphoto" Target="../media/hdphoto6.wdp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5" Type="http://schemas.openxmlformats.org/officeDocument/2006/relationships/image" Target="../media/image62.png"/><Relationship Id="rId4" Type="http://schemas.openxmlformats.org/officeDocument/2006/relationships/image" Target="../media/image60.png"/><Relationship Id="rId9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1.png"/><Relationship Id="rId3" Type="http://schemas.openxmlformats.org/officeDocument/2006/relationships/image" Target="../media/image5.jpeg"/><Relationship Id="rId7" Type="http://schemas.microsoft.com/office/2007/relationships/hdphoto" Target="../media/hdphoto2.wdp"/><Relationship Id="rId12" Type="http://schemas.microsoft.com/office/2007/relationships/hdphoto" Target="../media/hdphoto4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0.png"/><Relationship Id="rId5" Type="http://schemas.microsoft.com/office/2007/relationships/hdphoto" Target="../media/hdphoto1.wdp"/><Relationship Id="rId10" Type="http://schemas.microsoft.com/office/2007/relationships/hdphoto" Target="../media/hdphoto3.wdp"/><Relationship Id="rId4" Type="http://schemas.openxmlformats.org/officeDocument/2006/relationships/image" Target="../media/image6.png"/><Relationship Id="rId9" Type="http://schemas.openxmlformats.org/officeDocument/2006/relationships/image" Target="../media/image9.png"/><Relationship Id="rId14" Type="http://schemas.microsoft.com/office/2007/relationships/hdphoto" Target="../media/hdphoto5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emf"/><Relationship Id="rId7" Type="http://schemas.openxmlformats.org/officeDocument/2006/relationships/image" Target="../media/image16.png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openxmlformats.org/officeDocument/2006/relationships/image" Target="../media/image20.jpeg"/><Relationship Id="rId5" Type="http://schemas.openxmlformats.org/officeDocument/2006/relationships/image" Target="../media/image14.pn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3.jpe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8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jpeg"/><Relationship Id="rId5" Type="http://schemas.openxmlformats.org/officeDocument/2006/relationships/image" Target="../media/image31.jpg"/><Relationship Id="rId4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40.jpeg"/><Relationship Id="rId89" Type="http://schemas.openxmlformats.org/officeDocument/2006/relationships/image" Target="../media/image44.png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90" Type="http://schemas.openxmlformats.org/officeDocument/2006/relationships/image" Target="../media/image45.png"/><Relationship Id="rId95" Type="http://schemas.openxmlformats.org/officeDocument/2006/relationships/image" Target="../media/image49.png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80" Type="http://schemas.openxmlformats.org/officeDocument/2006/relationships/notesSlide" Target="../notesSlides/notesSlide5.xml"/><Relationship Id="rId85" Type="http://schemas.openxmlformats.org/officeDocument/2006/relationships/image" Target="../media/image41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image" Target="../media/image39.png"/><Relationship Id="rId88" Type="http://schemas.openxmlformats.org/officeDocument/2006/relationships/image" Target="../media/image43.png"/><Relationship Id="rId91" Type="http://schemas.openxmlformats.org/officeDocument/2006/relationships/image" Target="../media/image46.png"/><Relationship Id="rId96" Type="http://schemas.openxmlformats.org/officeDocument/2006/relationships/image" Target="../media/image8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image" Target="../media/image37.jpeg"/><Relationship Id="rId86" Type="http://schemas.openxmlformats.org/officeDocument/2006/relationships/image" Target="../media/image42.png"/><Relationship Id="rId94" Type="http://schemas.openxmlformats.org/officeDocument/2006/relationships/image" Target="../media/image48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image" Target="../media/image50.jpeg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image" Target="../media/image47.png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microsoft.com/office/2007/relationships/hdphoto" Target="../media/hdphoto6.wdp"/><Relationship Id="rId61" Type="http://schemas.openxmlformats.org/officeDocument/2006/relationships/tags" Target="../tags/tag61.xml"/><Relationship Id="rId82" Type="http://schemas.openxmlformats.org/officeDocument/2006/relationships/image" Target="../media/image38.gif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image" Target="../media/image27.png"/><Relationship Id="rId98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5" Type="http://schemas.openxmlformats.org/officeDocument/2006/relationships/image" Target="../media/image62.png"/><Relationship Id="rId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539"/>
          <a:stretch/>
        </p:blipFill>
        <p:spPr>
          <a:xfrm>
            <a:off x="9220200" y="6114"/>
            <a:ext cx="9067799" cy="5061185"/>
          </a:xfrm>
          <a:prstGeom prst="rect">
            <a:avLst/>
          </a:prstGeom>
        </p:spPr>
      </p:pic>
      <p:pic>
        <p:nvPicPr>
          <p:cNvPr id="1030" name="Picture 6" descr="Mumbai: New signalling system may get railways 'on track' during ...">
            <a:extLst>
              <a:ext uri="{FF2B5EF4-FFF2-40B4-BE49-F238E27FC236}">
                <a16:creationId xmlns:a16="http://schemas.microsoft.com/office/drawing/2014/main" id="{13121E77-D6CB-44AB-BB36-122651FF58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3" y="5209472"/>
            <a:ext cx="10423528" cy="5071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0">
            <a:extLst>
              <a:ext uri="{FF2B5EF4-FFF2-40B4-BE49-F238E27FC236}">
                <a16:creationId xmlns:a16="http://schemas.microsoft.com/office/drawing/2014/main" id="{8B12E2B2-CDC3-4EF0-B29B-27198509500B}"/>
              </a:ext>
            </a:extLst>
          </p:cNvPr>
          <p:cNvSpPr txBox="1"/>
          <p:nvPr/>
        </p:nvSpPr>
        <p:spPr>
          <a:xfrm>
            <a:off x="531136" y="4880600"/>
            <a:ext cx="6603764" cy="3288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>
              <a:lnSpc>
                <a:spcPts val="2520"/>
              </a:lnSpc>
              <a:spcBef>
                <a:spcPct val="0"/>
              </a:spcBef>
            </a:pPr>
            <a:r>
              <a:rPr lang="en-US" sz="3200" spc="179" dirty="0" smtClean="0">
                <a:solidFill>
                  <a:srgbClr val="6F8090"/>
                </a:solidFill>
                <a:latin typeface="Century Gothic" panose="020B0502020202020204" pitchFamily="34" charset="0"/>
              </a:rPr>
              <a:t>overview</a:t>
            </a:r>
            <a:endParaRPr lang="en-US" sz="3200" u="none" spc="179" dirty="0">
              <a:solidFill>
                <a:srgbClr val="6F8090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Параллелограмм 2">
            <a:extLst>
              <a:ext uri="{FF2B5EF4-FFF2-40B4-BE49-F238E27FC236}">
                <a16:creationId xmlns:a16="http://schemas.microsoft.com/office/drawing/2014/main" id="{44BCC8C5-6D71-446B-BFE4-F372B0F222E3}"/>
              </a:ext>
            </a:extLst>
          </p:cNvPr>
          <p:cNvSpPr/>
          <p:nvPr/>
        </p:nvSpPr>
        <p:spPr>
          <a:xfrm>
            <a:off x="3934498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араллелограмм 1">
            <a:extLst>
              <a:ext uri="{FF2B5EF4-FFF2-40B4-BE49-F238E27FC236}">
                <a16:creationId xmlns:a16="http://schemas.microsoft.com/office/drawing/2014/main" id="{A40CFFE2-DC64-4265-9281-E8BA180C93FE}"/>
              </a:ext>
            </a:extLst>
          </p:cNvPr>
          <p:cNvSpPr/>
          <p:nvPr/>
        </p:nvSpPr>
        <p:spPr>
          <a:xfrm>
            <a:off x="89154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8BC690C-4AAA-460A-B23A-718D8CFF2955}"/>
              </a:ext>
            </a:extLst>
          </p:cNvPr>
          <p:cNvSpPr txBox="1"/>
          <p:nvPr/>
        </p:nvSpPr>
        <p:spPr>
          <a:xfrm>
            <a:off x="531136" y="3314700"/>
            <a:ext cx="8308064" cy="13553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2000"/>
              </a:lnSpc>
            </a:pPr>
            <a:r>
              <a:rPr lang="en-US" sz="6000" b="1" spc="-359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LocoTech</a:t>
            </a:r>
            <a:r>
              <a:rPr lang="ru-RU" sz="6000" b="1" spc="-359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-</a:t>
            </a:r>
            <a:r>
              <a:rPr lang="en-US" sz="6000" b="1" spc="-359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Signal</a:t>
            </a:r>
            <a:endParaRPr lang="en-US" sz="6000" b="1" spc="-359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" y="495300"/>
            <a:ext cx="2104631" cy="4572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Объем российского рынка компьютерного зрения достигнет 38 млрд ...">
            <a:extLst>
              <a:ext uri="{FF2B5EF4-FFF2-40B4-BE49-F238E27FC236}">
                <a16:creationId xmlns:a16="http://schemas.microsoft.com/office/drawing/2014/main" id="{4494BA6C-65B1-488A-9AFA-68535F7294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47433"/>
            <a:ext cx="8025401" cy="5339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66D2C38D-037E-43C9-AC55-6CF210F37BB5}"/>
              </a:ext>
            </a:extLst>
          </p:cNvPr>
          <p:cNvSpPr/>
          <p:nvPr/>
        </p:nvSpPr>
        <p:spPr>
          <a:xfrm>
            <a:off x="0" y="0"/>
            <a:ext cx="7462573" cy="10286999"/>
          </a:xfrm>
          <a:prstGeom prst="rect">
            <a:avLst/>
          </a:prstGeom>
          <a:gradFill>
            <a:gsLst>
              <a:gs pos="45000">
                <a:schemeClr val="accent1">
                  <a:lumMod val="5000"/>
                  <a:lumOff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228600" y="1359863"/>
            <a:ext cx="648706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dirty="0">
                <a:solidFill>
                  <a:srgbClr val="3D4248"/>
                </a:solidFill>
                <a:latin typeface="Century Gothic" panose="020B0502020202020204" pitchFamily="34" charset="0"/>
              </a:rPr>
              <a:t>R</a:t>
            </a:r>
            <a:r>
              <a:rPr lang="en-US" sz="32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il traffic automation based on </a:t>
            </a: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Machine </a:t>
            </a:r>
            <a:r>
              <a:rPr lang="en-US" sz="32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vision</a:t>
            </a:r>
            <a:r>
              <a:rPr lang="ru-RU" sz="32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32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technology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763298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44167132-D1B7-4DAA-A1C5-917CEEA4AA31}"/>
              </a:ext>
            </a:extLst>
          </p:cNvPr>
          <p:cNvSpPr/>
          <p:nvPr/>
        </p:nvSpPr>
        <p:spPr>
          <a:xfrm>
            <a:off x="6934200" y="3445562"/>
            <a:ext cx="3591621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KEY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FUNCTIONS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392613EC-9585-44F9-964D-1C91E919EB54}"/>
              </a:ext>
            </a:extLst>
          </p:cNvPr>
          <p:cNvSpPr/>
          <p:nvPr/>
        </p:nvSpPr>
        <p:spPr>
          <a:xfrm>
            <a:off x="6799481" y="6999740"/>
            <a:ext cx="2954119" cy="1018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USTOMER 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BENIFITS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id="{A4C0EE39-C872-4143-BE7A-3AA84E84C6C7}"/>
              </a:ext>
            </a:extLst>
          </p:cNvPr>
          <p:cNvSpPr/>
          <p:nvPr/>
        </p:nvSpPr>
        <p:spPr>
          <a:xfrm>
            <a:off x="8042272" y="1996607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E91FFF7-4276-43DC-972D-462B692592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2"/>
          <a:stretch/>
        </p:blipFill>
        <p:spPr>
          <a:xfrm>
            <a:off x="8063733" y="2107457"/>
            <a:ext cx="1382539" cy="1197527"/>
          </a:xfrm>
          <a:prstGeom prst="rect">
            <a:avLst/>
          </a:prstGeom>
        </p:spPr>
      </p:pic>
      <p:sp>
        <p:nvSpPr>
          <p:cNvPr id="82" name="Овал 81">
            <a:extLst>
              <a:ext uri="{FF2B5EF4-FFF2-40B4-BE49-F238E27FC236}">
                <a16:creationId xmlns:a16="http://schemas.microsoft.com/office/drawing/2014/main" id="{B27E1F5C-A93D-465F-8208-E799E6A3AE63}"/>
              </a:ext>
            </a:extLst>
          </p:cNvPr>
          <p:cNvSpPr/>
          <p:nvPr/>
        </p:nvSpPr>
        <p:spPr>
          <a:xfrm>
            <a:off x="7462573" y="5404337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C7108FD-5150-49DC-8DDE-F750C025F77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07"/>
          <a:stretch/>
        </p:blipFill>
        <p:spPr>
          <a:xfrm>
            <a:off x="7545493" y="5590271"/>
            <a:ext cx="1210098" cy="1032132"/>
          </a:xfrm>
          <a:prstGeom prst="rect">
            <a:avLst/>
          </a:prstGeom>
        </p:spPr>
      </p:pic>
      <p:sp>
        <p:nvSpPr>
          <p:cNvPr id="74" name="Параллелограмм 73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58674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D2B7C56A-C8EF-4458-8E66-0903A75E6903}"/>
              </a:ext>
            </a:extLst>
          </p:cNvPr>
          <p:cNvSpPr/>
          <p:nvPr/>
        </p:nvSpPr>
        <p:spPr>
          <a:xfrm>
            <a:off x="10358860" y="1485900"/>
            <a:ext cx="7748838" cy="2477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Objects and obstacles detection, collision pretension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Remote control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utomatic train control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Driver’s state and actions control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ccurate localization of the locomotive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6AE3598E-B28B-4DE3-A82A-E704218A4061}"/>
              </a:ext>
            </a:extLst>
          </p:cNvPr>
          <p:cNvCxnSpPr>
            <a:cxnSpLocks/>
          </p:cNvCxnSpPr>
          <p:nvPr/>
        </p:nvCxnSpPr>
        <p:spPr>
          <a:xfrm>
            <a:off x="6477000" y="8191500"/>
            <a:ext cx="116579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ECEF0EDB-F768-4A6A-855A-8349264E1635}"/>
              </a:ext>
            </a:extLst>
          </p:cNvPr>
          <p:cNvSpPr/>
          <p:nvPr/>
        </p:nvSpPr>
        <p:spPr>
          <a:xfrm>
            <a:off x="10358859" y="5404337"/>
            <a:ext cx="7748839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Railway operation and human safety improvement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Operation efficiency improvement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Step forward to autonomous train operation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0567FE3-F9DA-4033-94FA-6FF5B3D36B61}"/>
              </a:ext>
            </a:extLst>
          </p:cNvPr>
          <p:cNvCxnSpPr>
            <a:cxnSpLocks/>
          </p:cNvCxnSpPr>
          <p:nvPr/>
        </p:nvCxnSpPr>
        <p:spPr>
          <a:xfrm>
            <a:off x="7010400" y="4686300"/>
            <a:ext cx="111245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1FA2E29A-ECBC-4727-878E-3F70DFB6D787}"/>
              </a:ext>
            </a:extLst>
          </p:cNvPr>
          <p:cNvSpPr/>
          <p:nvPr/>
        </p:nvSpPr>
        <p:spPr>
          <a:xfrm>
            <a:off x="5906122" y="9033806"/>
            <a:ext cx="2954119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PPLICATION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SCOPE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ED8B89A-83D6-4AC6-8147-98B332D4441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18"/>
          <a:stretch/>
        </p:blipFill>
        <p:spPr>
          <a:xfrm>
            <a:off x="12290931" y="8686212"/>
            <a:ext cx="605650" cy="430013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13E915D5-7146-400E-8C29-A39D5C930D04}"/>
              </a:ext>
            </a:extLst>
          </p:cNvPr>
          <p:cNvSpPr txBox="1"/>
          <p:nvPr/>
        </p:nvSpPr>
        <p:spPr>
          <a:xfrm>
            <a:off x="11490471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URBAN TRANSPORT</a:t>
            </a:r>
            <a:r>
              <a:rPr lang="ru-RU" sz="1200" dirty="0"/>
              <a:t/>
            </a:r>
            <a:br>
              <a:rPr lang="ru-RU" sz="1200" dirty="0"/>
            </a:br>
            <a:r>
              <a:rPr lang="ru-RU" sz="1200" dirty="0" smtClean="0"/>
              <a:t>(</a:t>
            </a:r>
            <a:r>
              <a:rPr lang="en-US" sz="1200" dirty="0" smtClean="0"/>
              <a:t>INCL. METRO</a:t>
            </a:r>
            <a:r>
              <a:rPr lang="ru-RU" sz="1200" dirty="0" smtClean="0"/>
              <a:t>)</a:t>
            </a:r>
            <a:endParaRPr lang="ru-RU" sz="12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8F2FCFF-A4E9-4C06-9BE4-E7ABB6584346}"/>
              </a:ext>
            </a:extLst>
          </p:cNvPr>
          <p:cNvSpPr txBox="1"/>
          <p:nvPr/>
        </p:nvSpPr>
        <p:spPr>
          <a:xfrm>
            <a:off x="13643030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MAINLINE</a:t>
            </a:r>
          </a:p>
          <a:p>
            <a:pPr algn="ctr"/>
            <a:r>
              <a:rPr lang="en-US" sz="1200" dirty="0" smtClean="0"/>
              <a:t> TRANSPORT</a:t>
            </a:r>
            <a:endParaRPr lang="ru-RU" sz="1200" dirty="0"/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BFB84FF3-663E-42BB-9C90-3C8962D17B3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10096860" y="8715935"/>
            <a:ext cx="588845" cy="45980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33F00228-DE01-48E5-80B9-6EDA777210B2}"/>
              </a:ext>
            </a:extLst>
          </p:cNvPr>
          <p:cNvSpPr txBox="1"/>
          <p:nvPr/>
        </p:nvSpPr>
        <p:spPr>
          <a:xfrm>
            <a:off x="9296400" y="9307527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INDUSTRIAL </a:t>
            </a:r>
          </a:p>
          <a:p>
            <a:pPr algn="ctr"/>
            <a:r>
              <a:rPr lang="en-US" sz="1200" dirty="0" smtClean="0"/>
              <a:t>TRANSPORT</a:t>
            </a:r>
            <a:endParaRPr lang="ru-RU" sz="1200" dirty="0"/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D1CBE67F-D885-46F5-8242-A4F9597F508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4483027" y="8656416"/>
            <a:ext cx="588844" cy="459809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112EB7A-91C6-47B5-B947-13F3C17A6A31}"/>
              </a:ext>
            </a:extLst>
          </p:cNvPr>
          <p:cNvSpPr txBox="1"/>
          <p:nvPr/>
        </p:nvSpPr>
        <p:spPr>
          <a:xfrm>
            <a:off x="15621000" y="9307527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VARIOUS</a:t>
            </a:r>
          </a:p>
          <a:p>
            <a:pPr algn="ctr"/>
            <a:r>
              <a:rPr lang="en-US" sz="1200" dirty="0" smtClean="0"/>
              <a:t> INDUSTRIES </a:t>
            </a:r>
            <a:endParaRPr lang="ru-RU" sz="120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CF35330-5CA1-4B06-959A-AC24A2FEA7A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29"/>
          <a:stretch/>
        </p:blipFill>
        <p:spPr>
          <a:xfrm>
            <a:off x="16454185" y="8665769"/>
            <a:ext cx="540200" cy="470898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5273" y="353435"/>
            <a:ext cx="2078024" cy="451420"/>
          </a:xfrm>
          <a:prstGeom prst="rect">
            <a:avLst/>
          </a:prstGeom>
        </p:spPr>
      </p:pic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799" y="122741"/>
            <a:ext cx="12669075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ru-RU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С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TRL</a:t>
            </a:r>
            <a:r>
              <a:rPr lang="en-US" sz="4000" b="1" spc="159" dirty="0">
                <a:solidFill>
                  <a:srgbClr val="F64047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@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VISION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1898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5">
            <a:extLst>
              <a:ext uri="{FF2B5EF4-FFF2-40B4-BE49-F238E27FC236}">
                <a16:creationId xmlns:a16="http://schemas.microsoft.com/office/drawing/2014/main" id="{B1D056DD-9D21-490A-B4A7-CFA113A05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6" y="4417107"/>
            <a:ext cx="7407329" cy="5869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66D2C38D-037E-43C9-AC55-6CF210F37BB5}"/>
              </a:ext>
            </a:extLst>
          </p:cNvPr>
          <p:cNvSpPr/>
          <p:nvPr/>
        </p:nvSpPr>
        <p:spPr>
          <a:xfrm>
            <a:off x="0" y="0"/>
            <a:ext cx="7515899" cy="10287000"/>
          </a:xfrm>
          <a:prstGeom prst="rect">
            <a:avLst/>
          </a:prstGeom>
          <a:gradFill>
            <a:gsLst>
              <a:gs pos="45000">
                <a:schemeClr val="bg1">
                  <a:lumMod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228601" y="1359863"/>
            <a:ext cx="6487067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300"/>
              </a:lnSpc>
            </a:pPr>
            <a:r>
              <a:rPr lang="en-US" sz="27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Automatic train operation</a:t>
            </a:r>
            <a:r>
              <a:rPr lang="ru-RU" sz="27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– </a:t>
            </a:r>
            <a:endParaRPr lang="en-US" sz="2100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>
              <a:lnSpc>
                <a:spcPts val="3300"/>
              </a:lnSpc>
            </a:pPr>
            <a:r>
              <a:rPr lang="en-US" sz="2100" dirty="0">
                <a:solidFill>
                  <a:srgbClr val="3D4248"/>
                </a:solidFill>
                <a:latin typeface="Century Gothic" panose="020B0502020202020204" pitchFamily="34" charset="0"/>
              </a:rPr>
              <a:t>s</a:t>
            </a:r>
            <a:r>
              <a:rPr lang="en-US" sz="2100" dirty="0">
                <a:solidFill>
                  <a:srgbClr val="3D4248"/>
                </a:solidFill>
                <a:latin typeface="Century Gothic" panose="020B0502020202020204" pitchFamily="34" charset="0"/>
              </a:rPr>
              <a:t>mart system to ensure automatic </a:t>
            </a:r>
            <a:r>
              <a:rPr lang="en-US" sz="2100" dirty="0">
                <a:solidFill>
                  <a:srgbClr val="3D4248"/>
                </a:solidFill>
                <a:latin typeface="Century Gothic" panose="020B0502020202020204" pitchFamily="34" charset="0"/>
              </a:rPr>
              <a:t>train operation </a:t>
            </a:r>
            <a:r>
              <a:rPr lang="en-US" sz="2100" dirty="0">
                <a:solidFill>
                  <a:srgbClr val="3D4248"/>
                </a:solidFill>
                <a:latin typeface="Century Gothic" panose="020B0502020202020204" pitchFamily="34" charset="0"/>
              </a:rPr>
              <a:t>in </a:t>
            </a:r>
            <a:r>
              <a:rPr lang="en-US" sz="2100" dirty="0">
                <a:solidFill>
                  <a:srgbClr val="3D4248"/>
                </a:solidFill>
                <a:latin typeface="Century Gothic" panose="020B0502020202020204" pitchFamily="34" charset="0"/>
              </a:rPr>
              <a:t>accordance with service conditions, traffic schedule, fuel and energy consumption </a:t>
            </a:r>
            <a:r>
              <a:rPr lang="en-US" sz="2100" dirty="0">
                <a:solidFill>
                  <a:srgbClr val="3D4248"/>
                </a:solidFill>
                <a:latin typeface="Century Gothic" panose="020B0502020202020204" pitchFamily="34" charset="0"/>
              </a:rPr>
              <a:t>rate</a:t>
            </a:r>
            <a:endParaRPr lang="ru-RU" sz="2100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>
              <a:lnSpc>
                <a:spcPts val="3300"/>
              </a:lnSpc>
            </a:pPr>
            <a:endParaRPr lang="en-US" sz="2100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763299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BFB84FF3-663E-42BB-9C90-3C8962D17B3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11225575" y="8558774"/>
            <a:ext cx="588845" cy="459809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D1CBE67F-D885-46F5-8242-A4F9597F508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3297165" y="8499256"/>
            <a:ext cx="588845" cy="459809"/>
          </a:xfrm>
          <a:prstGeom prst="rect">
            <a:avLst/>
          </a:prstGeom>
        </p:spPr>
      </p:pic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800" y="122742"/>
            <a:ext cx="12669075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6"/>
              </a:lnSpc>
              <a:defRPr/>
            </a:pPr>
            <a:r>
              <a:rPr lang="ru-RU" sz="36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С</a:t>
            </a:r>
            <a:r>
              <a:rPr lang="en-US" sz="3600" b="1" spc="159" dirty="0">
                <a:solidFill>
                  <a:srgbClr val="3D4248"/>
                </a:solidFill>
                <a:latin typeface="Century Gothic" panose="020B0502020202020204" pitchFamily="34" charset="0"/>
              </a:rPr>
              <a:t>TRL</a:t>
            </a:r>
            <a:r>
              <a:rPr lang="en-US" sz="3600" b="1" spc="159" dirty="0">
                <a:solidFill>
                  <a:srgbClr val="F64047"/>
                </a:solidFill>
                <a:latin typeface="Century Gothic" panose="020B0502020202020204" pitchFamily="34" charset="0"/>
              </a:rPr>
              <a:t>@</a:t>
            </a:r>
            <a:r>
              <a:rPr lang="en-US" sz="3600" b="1" spc="159" dirty="0">
                <a:solidFill>
                  <a:srgbClr val="3D4248"/>
                </a:solidFill>
                <a:latin typeface="Century Gothic" panose="020B0502020202020204" pitchFamily="34" charset="0"/>
              </a:rPr>
              <a:t>DRIVE</a:t>
            </a:r>
            <a:endParaRPr lang="ru-RU" sz="36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92592624-0506-4B6D-90B3-48529BB15A23}"/>
              </a:ext>
            </a:extLst>
          </p:cNvPr>
          <p:cNvCxnSpPr>
            <a:cxnSpLocks/>
          </p:cNvCxnSpPr>
          <p:nvPr/>
        </p:nvCxnSpPr>
        <p:spPr>
          <a:xfrm>
            <a:off x="7010400" y="4686300"/>
            <a:ext cx="964882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FF0C092A-11F4-4C5C-ACDB-46A5B95DCA3D}"/>
              </a:ext>
            </a:extLst>
          </p:cNvPr>
          <p:cNvCxnSpPr>
            <a:cxnSpLocks/>
          </p:cNvCxnSpPr>
          <p:nvPr/>
        </p:nvCxnSpPr>
        <p:spPr>
          <a:xfrm>
            <a:off x="6477000" y="8191500"/>
            <a:ext cx="1018222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CF089293-2054-4310-BF06-864D90C87271}"/>
              </a:ext>
            </a:extLst>
          </p:cNvPr>
          <p:cNvSpPr/>
          <p:nvPr/>
        </p:nvSpPr>
        <p:spPr>
          <a:xfrm>
            <a:off x="9870923" y="1513583"/>
            <a:ext cx="6787907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One-person locomotive driving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Automatic traction and braking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control, incl. regenerative braking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Implementation of various traffic modes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: </a:t>
            </a:r>
            <a:r>
              <a:rPr lang="en-US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according to the schedule, station-to-station driving time, in the advisor mode,</a:t>
            </a:r>
            <a:r>
              <a:rPr lang="ru-RU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using </a:t>
            </a:r>
            <a:r>
              <a:rPr lang="ru-RU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«</a:t>
            </a:r>
            <a:r>
              <a:rPr lang="en-US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virtual coupling</a:t>
            </a:r>
            <a:r>
              <a:rPr lang="ru-RU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»</a:t>
            </a:r>
            <a:r>
              <a:rPr lang="en-US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technology.</a:t>
            </a:r>
            <a:endParaRPr lang="ru-RU" sz="2000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B0CE8D1A-F83E-4450-A992-580470FB8E99}"/>
              </a:ext>
            </a:extLst>
          </p:cNvPr>
          <p:cNvSpPr/>
          <p:nvPr/>
        </p:nvSpPr>
        <p:spPr>
          <a:xfrm>
            <a:off x="9882635" y="5188467"/>
            <a:ext cx="736321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Up to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8%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decrease of fuel and energy consumption rate  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U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p to 1 min accuracy in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traffic schedule compliance</a:t>
            </a: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C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ompliance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with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normal</a:t>
            </a: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rolling stock operation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conditions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7010A8FE-83AD-4524-A4BE-9248A4DC6155}"/>
              </a:ext>
            </a:extLst>
          </p:cNvPr>
          <p:cNvSpPr/>
          <p:nvPr/>
        </p:nvSpPr>
        <p:spPr>
          <a:xfrm>
            <a:off x="6543124" y="8921961"/>
            <a:ext cx="2954120" cy="410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APPLICATION SCOPE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392613EC-9585-44F9-964D-1C91E919EB54}"/>
              </a:ext>
            </a:extLst>
          </p:cNvPr>
          <p:cNvSpPr/>
          <p:nvPr/>
        </p:nvSpPr>
        <p:spPr>
          <a:xfrm>
            <a:off x="6370223" y="6881759"/>
            <a:ext cx="3456267" cy="12072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CUSTOMER 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BENIFITS</a:t>
            </a:r>
          </a:p>
          <a:p>
            <a:pPr algn="ctr">
              <a:lnSpc>
                <a:spcPct val="115000"/>
              </a:lnSpc>
              <a:spcAft>
                <a:spcPts val="1800"/>
              </a:spcAft>
              <a:buClr>
                <a:srgbClr val="66CEF6"/>
              </a:buClr>
              <a:buSzPct val="120000"/>
              <a:tabLst>
                <a:tab pos="405765" algn="l"/>
              </a:tabLst>
            </a:pPr>
            <a:endParaRPr lang="en-US" sz="27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44167132-D1B7-4DAA-A1C5-917CEEA4AA31}"/>
              </a:ext>
            </a:extLst>
          </p:cNvPr>
          <p:cNvSpPr/>
          <p:nvPr/>
        </p:nvSpPr>
        <p:spPr>
          <a:xfrm>
            <a:off x="6009754" y="3335370"/>
            <a:ext cx="5387432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KEY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 FUNCTION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8F2FCFF-A4E9-4C06-9BE4-E7ABB6584346}"/>
              </a:ext>
            </a:extLst>
          </p:cNvPr>
          <p:cNvSpPr txBox="1"/>
          <p:nvPr/>
        </p:nvSpPr>
        <p:spPr>
          <a:xfrm>
            <a:off x="11999777" y="9135864"/>
            <a:ext cx="3309855" cy="7063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MAINLINE</a:t>
            </a:r>
          </a:p>
          <a:p>
            <a:pPr algn="ctr"/>
            <a:r>
              <a:rPr lang="en-US" sz="1200" dirty="0"/>
              <a:t> TRANSPORT</a:t>
            </a:r>
            <a:endParaRPr lang="ru-RU" sz="12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3F00228-DE01-48E5-80B9-6EDA777210B2}"/>
              </a:ext>
            </a:extLst>
          </p:cNvPr>
          <p:cNvSpPr txBox="1"/>
          <p:nvPr/>
        </p:nvSpPr>
        <p:spPr>
          <a:xfrm>
            <a:off x="9865068" y="9135866"/>
            <a:ext cx="3309855" cy="7063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INDUSTRIAL </a:t>
            </a:r>
          </a:p>
          <a:p>
            <a:pPr algn="ctr"/>
            <a:r>
              <a:rPr lang="en-US" sz="1200" dirty="0"/>
              <a:t>TRANSPORT</a:t>
            </a:r>
            <a:endParaRPr lang="ru-RU" sz="1200" dirty="0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A4C0EE39-C872-4143-BE7A-3AA84E84C6C7}"/>
              </a:ext>
            </a:extLst>
          </p:cNvPr>
          <p:cNvSpPr/>
          <p:nvPr/>
        </p:nvSpPr>
        <p:spPr>
          <a:xfrm>
            <a:off x="8042272" y="1996607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CE91FFF7-4276-43DC-972D-462B6925920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2"/>
          <a:stretch/>
        </p:blipFill>
        <p:spPr>
          <a:xfrm>
            <a:off x="8063733" y="2107457"/>
            <a:ext cx="1382539" cy="1197527"/>
          </a:xfrm>
          <a:prstGeom prst="rect">
            <a:avLst/>
          </a:prstGeom>
        </p:spPr>
      </p:pic>
      <p:sp>
        <p:nvSpPr>
          <p:cNvPr id="46" name="Овал 45">
            <a:extLst>
              <a:ext uri="{FF2B5EF4-FFF2-40B4-BE49-F238E27FC236}">
                <a16:creationId xmlns:a16="http://schemas.microsoft.com/office/drawing/2014/main" id="{B27E1F5C-A93D-465F-8208-E799E6A3AE63}"/>
              </a:ext>
            </a:extLst>
          </p:cNvPr>
          <p:cNvSpPr/>
          <p:nvPr/>
        </p:nvSpPr>
        <p:spPr>
          <a:xfrm>
            <a:off x="7462573" y="5404337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0C7108FD-5150-49DC-8DDE-F750C025F77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07"/>
          <a:stretch/>
        </p:blipFill>
        <p:spPr>
          <a:xfrm>
            <a:off x="7563671" y="5524241"/>
            <a:ext cx="1210098" cy="1032132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5273" y="353435"/>
            <a:ext cx="2078024" cy="451420"/>
          </a:xfrm>
          <a:prstGeom prst="rect">
            <a:avLst/>
          </a:prstGeom>
        </p:spPr>
      </p:pic>
      <p:sp>
        <p:nvSpPr>
          <p:cNvPr id="50" name="Параллелограмм 49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5829341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</p:spTree>
    <p:extLst>
      <p:ext uri="{BB962C8B-B14F-4D97-AF65-F5344CB8AC3E}">
        <p14:creationId xmlns:p14="http://schemas.microsoft.com/office/powerpoint/2010/main" val="3783590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165BA4C0-BE61-4CAB-AF3B-D118261E8E5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1" b="21261"/>
          <a:stretch/>
        </p:blipFill>
        <p:spPr>
          <a:xfrm>
            <a:off x="0" y="1755405"/>
            <a:ext cx="7069562" cy="8531595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66D2C38D-037E-43C9-AC55-6CF210F37BB5}"/>
              </a:ext>
            </a:extLst>
          </p:cNvPr>
          <p:cNvSpPr/>
          <p:nvPr/>
        </p:nvSpPr>
        <p:spPr>
          <a:xfrm>
            <a:off x="732" y="0"/>
            <a:ext cx="7515899" cy="10287000"/>
          </a:xfrm>
          <a:prstGeom prst="rect">
            <a:avLst/>
          </a:prstGeom>
          <a:gradFill>
            <a:gsLst>
              <a:gs pos="45000">
                <a:schemeClr val="bg1">
                  <a:lumMod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228601" y="1359863"/>
            <a:ext cx="648706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300"/>
              </a:lnSpc>
            </a:pPr>
            <a:r>
              <a:rPr lang="en-US" sz="27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Automatic train protection</a:t>
            </a:r>
            <a:r>
              <a:rPr lang="ru-RU" sz="27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– </a:t>
            </a:r>
            <a:r>
              <a:rPr lang="ru-RU" sz="2700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2700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en-US" sz="2100" dirty="0">
                <a:solidFill>
                  <a:srgbClr val="3D4248"/>
                </a:solidFill>
                <a:latin typeface="Century Gothic" panose="020B0502020202020204" pitchFamily="34" charset="0"/>
              </a:rPr>
              <a:t>system developed for locomotives of the Eastern Polygon of Russian Railways and new rolling stock</a:t>
            </a:r>
            <a:endParaRPr lang="en-US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781733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800" y="122742"/>
            <a:ext cx="12669075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6"/>
              </a:lnSpc>
              <a:defRPr/>
            </a:pPr>
            <a:r>
              <a:rPr lang="ru-RU" sz="36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С</a:t>
            </a:r>
            <a:r>
              <a:rPr lang="en-US" sz="3600" b="1" spc="159" dirty="0">
                <a:solidFill>
                  <a:srgbClr val="3D4248"/>
                </a:solidFill>
                <a:latin typeface="Century Gothic" panose="020B0502020202020204" pitchFamily="34" charset="0"/>
              </a:rPr>
              <a:t>TRL</a:t>
            </a:r>
            <a:r>
              <a:rPr lang="en-US" sz="3600" b="1" spc="159" dirty="0">
                <a:solidFill>
                  <a:srgbClr val="F64047"/>
                </a:solidFill>
                <a:latin typeface="Century Gothic" panose="020B0502020202020204" pitchFamily="34" charset="0"/>
              </a:rPr>
              <a:t>@</a:t>
            </a:r>
            <a:r>
              <a:rPr lang="en-US" sz="3600" b="1" spc="159" dirty="0">
                <a:solidFill>
                  <a:srgbClr val="3D4248"/>
                </a:solidFill>
                <a:latin typeface="Century Gothic" panose="020B0502020202020204" pitchFamily="34" charset="0"/>
              </a:rPr>
              <a:t>SAFE</a:t>
            </a:r>
            <a:endParaRPr lang="ru-RU" sz="36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92592624-0506-4B6D-90B3-48529BB15A23}"/>
              </a:ext>
            </a:extLst>
          </p:cNvPr>
          <p:cNvCxnSpPr>
            <a:cxnSpLocks/>
          </p:cNvCxnSpPr>
          <p:nvPr/>
        </p:nvCxnSpPr>
        <p:spPr>
          <a:xfrm>
            <a:off x="7010400" y="4686300"/>
            <a:ext cx="964882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FF0C092A-11F4-4C5C-ACDB-46A5B95DCA3D}"/>
              </a:ext>
            </a:extLst>
          </p:cNvPr>
          <p:cNvCxnSpPr>
            <a:cxnSpLocks/>
          </p:cNvCxnSpPr>
          <p:nvPr/>
        </p:nvCxnSpPr>
        <p:spPr>
          <a:xfrm>
            <a:off x="6477000" y="8191500"/>
            <a:ext cx="1018222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51D466CB-F0FC-4287-B6C5-AAB9D37495C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10774550" y="8558774"/>
            <a:ext cx="588845" cy="459809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588E69EB-F0AE-41C4-8D1B-218A31B527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3297165" y="8499256"/>
            <a:ext cx="588845" cy="459809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7304B94E-8DAB-4841-9269-9030EDD37F7B}"/>
              </a:ext>
            </a:extLst>
          </p:cNvPr>
          <p:cNvSpPr/>
          <p:nvPr/>
        </p:nvSpPr>
        <p:spPr>
          <a:xfrm>
            <a:off x="9714819" y="1638905"/>
            <a:ext cx="6944406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Key on-board equipment to ensure traffic safety</a:t>
            </a: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endParaRPr lang="en-US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Integrated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diagnostics of rail coils and track circuits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In-house decoding HMI 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Cards converter</a:t>
            </a: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from complex of locomotive safety devices </a:t>
            </a:r>
            <a:endParaRPr lang="en-US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Touch control interface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66E8F936-9C17-489F-A3E9-81560A217A14}"/>
              </a:ext>
            </a:extLst>
          </p:cNvPr>
          <p:cNvSpPr/>
          <p:nvPr/>
        </p:nvSpPr>
        <p:spPr>
          <a:xfrm>
            <a:off x="9714820" y="5304218"/>
            <a:ext cx="7207760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High reliability and fault tolerance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Portability</a:t>
            </a:r>
          </a:p>
          <a:p>
            <a:pPr marL="126213" indent="-126213">
              <a:lnSpc>
                <a:spcPct val="115000"/>
              </a:lnSpc>
              <a:spcAft>
                <a:spcPts val="120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270524" algn="l"/>
              </a:tabLst>
            </a:pP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Scalability of functionality and ease of integration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7010A8FE-83AD-4524-A4BE-9248A4DC6155}"/>
              </a:ext>
            </a:extLst>
          </p:cNvPr>
          <p:cNvSpPr/>
          <p:nvPr/>
        </p:nvSpPr>
        <p:spPr>
          <a:xfrm>
            <a:off x="6442271" y="8921961"/>
            <a:ext cx="2954120" cy="410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APPLICATION SCOPE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392613EC-9585-44F9-964D-1C91E919EB54}"/>
              </a:ext>
            </a:extLst>
          </p:cNvPr>
          <p:cNvSpPr/>
          <p:nvPr/>
        </p:nvSpPr>
        <p:spPr>
          <a:xfrm>
            <a:off x="6317123" y="6938079"/>
            <a:ext cx="3456267" cy="12072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CUSTOMER 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BENIFITS</a:t>
            </a:r>
          </a:p>
          <a:p>
            <a:pPr algn="ctr">
              <a:lnSpc>
                <a:spcPct val="115000"/>
              </a:lnSpc>
              <a:spcAft>
                <a:spcPts val="1800"/>
              </a:spcAft>
              <a:buClr>
                <a:srgbClr val="66CEF6"/>
              </a:buClr>
              <a:buSzPct val="120000"/>
              <a:tabLst>
                <a:tab pos="405765" algn="l"/>
              </a:tabLst>
            </a:pPr>
            <a:endParaRPr lang="en-US" sz="27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4167132-D1B7-4DAA-A1C5-917CEEA4AA31}"/>
              </a:ext>
            </a:extLst>
          </p:cNvPr>
          <p:cNvSpPr/>
          <p:nvPr/>
        </p:nvSpPr>
        <p:spPr>
          <a:xfrm>
            <a:off x="5908901" y="3335370"/>
            <a:ext cx="5387432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KEY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24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 FUNCT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F2FCFF-A4E9-4C06-9BE4-E7ABB6584346}"/>
              </a:ext>
            </a:extLst>
          </p:cNvPr>
          <p:cNvSpPr txBox="1"/>
          <p:nvPr/>
        </p:nvSpPr>
        <p:spPr>
          <a:xfrm>
            <a:off x="11999777" y="9055185"/>
            <a:ext cx="3309855" cy="7063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MAINLINE</a:t>
            </a:r>
          </a:p>
          <a:p>
            <a:pPr algn="ctr"/>
            <a:r>
              <a:rPr lang="en-US" sz="1200" dirty="0"/>
              <a:t> TRANSPORT</a:t>
            </a:r>
            <a:endParaRPr lang="ru-RU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3F00228-DE01-48E5-80B9-6EDA777210B2}"/>
              </a:ext>
            </a:extLst>
          </p:cNvPr>
          <p:cNvSpPr txBox="1"/>
          <p:nvPr/>
        </p:nvSpPr>
        <p:spPr>
          <a:xfrm>
            <a:off x="9445872" y="9055185"/>
            <a:ext cx="3309855" cy="7063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INDUSTRIAL </a:t>
            </a:r>
          </a:p>
          <a:p>
            <a:pPr algn="ctr"/>
            <a:r>
              <a:rPr lang="en-US" sz="1200" dirty="0"/>
              <a:t>TRANSPORT</a:t>
            </a:r>
            <a:endParaRPr lang="ru-RU" sz="12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5273" y="353435"/>
            <a:ext cx="2078024" cy="451420"/>
          </a:xfrm>
          <a:prstGeom prst="rect">
            <a:avLst/>
          </a:prstGeom>
        </p:spPr>
      </p:pic>
      <p:sp>
        <p:nvSpPr>
          <p:cNvPr id="45" name="Овал 44">
            <a:extLst>
              <a:ext uri="{FF2B5EF4-FFF2-40B4-BE49-F238E27FC236}">
                <a16:creationId xmlns:a16="http://schemas.microsoft.com/office/drawing/2014/main" id="{A4C0EE39-C872-4143-BE7A-3AA84E84C6C7}"/>
              </a:ext>
            </a:extLst>
          </p:cNvPr>
          <p:cNvSpPr/>
          <p:nvPr/>
        </p:nvSpPr>
        <p:spPr>
          <a:xfrm>
            <a:off x="8042272" y="1866900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CE91FFF7-4276-43DC-972D-462B6925920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2"/>
          <a:stretch/>
        </p:blipFill>
        <p:spPr>
          <a:xfrm>
            <a:off x="8063733" y="1977750"/>
            <a:ext cx="1382539" cy="1197527"/>
          </a:xfrm>
          <a:prstGeom prst="rect">
            <a:avLst/>
          </a:prstGeom>
        </p:spPr>
      </p:pic>
      <p:sp>
        <p:nvSpPr>
          <p:cNvPr id="48" name="Овал 47">
            <a:extLst>
              <a:ext uri="{FF2B5EF4-FFF2-40B4-BE49-F238E27FC236}">
                <a16:creationId xmlns:a16="http://schemas.microsoft.com/office/drawing/2014/main" id="{B27E1F5C-A93D-465F-8208-E799E6A3AE63}"/>
              </a:ext>
            </a:extLst>
          </p:cNvPr>
          <p:cNvSpPr/>
          <p:nvPr/>
        </p:nvSpPr>
        <p:spPr>
          <a:xfrm>
            <a:off x="7315200" y="5404337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0C7108FD-5150-49DC-8DDE-F750C025F77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07"/>
          <a:stretch/>
        </p:blipFill>
        <p:spPr>
          <a:xfrm>
            <a:off x="7424940" y="5517633"/>
            <a:ext cx="1210098" cy="1032132"/>
          </a:xfrm>
          <a:prstGeom prst="rect">
            <a:avLst/>
          </a:prstGeom>
        </p:spPr>
      </p:pic>
      <p:sp>
        <p:nvSpPr>
          <p:cNvPr id="50" name="Параллелограмм 49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5867400" y="-3810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</p:spTree>
    <p:extLst>
      <p:ext uri="{BB962C8B-B14F-4D97-AF65-F5344CB8AC3E}">
        <p14:creationId xmlns:p14="http://schemas.microsoft.com/office/powerpoint/2010/main" val="9069351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НКА-СтройСервис » Гарнитуры электроприводов стрелочных переводов">
            <a:extLst>
              <a:ext uri="{FF2B5EF4-FFF2-40B4-BE49-F238E27FC236}">
                <a16:creationId xmlns:a16="http://schemas.microsoft.com/office/drawing/2014/main" id="{324E1A62-1A8C-4148-9ECD-06E5CE1113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" y="4997451"/>
            <a:ext cx="9753600" cy="5276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66D2C38D-037E-43C9-AC55-6CF210F37BB5}"/>
              </a:ext>
            </a:extLst>
          </p:cNvPr>
          <p:cNvSpPr/>
          <p:nvPr/>
        </p:nvSpPr>
        <p:spPr>
          <a:xfrm>
            <a:off x="-22943" y="12700"/>
            <a:ext cx="7516631" cy="10286999"/>
          </a:xfrm>
          <a:prstGeom prst="rect">
            <a:avLst/>
          </a:prstGeom>
          <a:gradFill>
            <a:gsLst>
              <a:gs pos="45000">
                <a:schemeClr val="accent1">
                  <a:lumMod val="5000"/>
                  <a:lumOff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228599" y="1359863"/>
            <a:ext cx="6802437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Wireless point control</a:t>
            </a:r>
            <a:r>
              <a:rPr lang="ru-RU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en-US" sz="24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utomated local point machine control system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763298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44167132-D1B7-4DAA-A1C5-917CEEA4AA31}"/>
              </a:ext>
            </a:extLst>
          </p:cNvPr>
          <p:cNvSpPr/>
          <p:nvPr/>
        </p:nvSpPr>
        <p:spPr>
          <a:xfrm>
            <a:off x="6934200" y="3445562"/>
            <a:ext cx="3591621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KEY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 FUNCTIONS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392613EC-9585-44F9-964D-1C91E919EB54}"/>
              </a:ext>
            </a:extLst>
          </p:cNvPr>
          <p:cNvSpPr/>
          <p:nvPr/>
        </p:nvSpPr>
        <p:spPr>
          <a:xfrm>
            <a:off x="6799481" y="6999740"/>
            <a:ext cx="2954119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USTOMER 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BENIFITS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6AE3598E-B28B-4DE3-A82A-E704218A4061}"/>
              </a:ext>
            </a:extLst>
          </p:cNvPr>
          <p:cNvCxnSpPr>
            <a:cxnSpLocks/>
          </p:cNvCxnSpPr>
          <p:nvPr/>
        </p:nvCxnSpPr>
        <p:spPr>
          <a:xfrm>
            <a:off x="6477000" y="8191500"/>
            <a:ext cx="116579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0567FE3-F9DA-4033-94FA-6FF5B3D36B61}"/>
              </a:ext>
            </a:extLst>
          </p:cNvPr>
          <p:cNvCxnSpPr>
            <a:cxnSpLocks/>
          </p:cNvCxnSpPr>
          <p:nvPr/>
        </p:nvCxnSpPr>
        <p:spPr>
          <a:xfrm>
            <a:off x="7010400" y="4686300"/>
            <a:ext cx="111245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91945785-7419-4B39-A1AE-09047317365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357371" y="1333500"/>
            <a:ext cx="7750328" cy="3008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9pPr>
          </a:lstStyle>
          <a:p>
            <a:pPr marL="126207" indent="-126207" fontAlgn="base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Point control using radio channel-based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tablet</a:t>
            </a: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 fontAlgn="base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ontrol of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point switch position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 fontAlgn="base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Electrical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and mechanical locking of the point in end positions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 fontAlgn="base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Exclusion of possibility to switch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under the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train</a:t>
            </a:r>
            <a:endParaRPr lang="en-US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 fontAlgn="base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8F348351-CF6C-490B-B1FE-07D9271B914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357371" y="4986353"/>
            <a:ext cx="7549629" cy="296669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165" b="0" i="0" u="none" strike="noStrike" cap="none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  <a:sym typeface="Arial" panose="020B0604020202020204"/>
              </a:defRPr>
            </a:lvl9pPr>
          </a:lstStyle>
          <a:p>
            <a:pPr marL="126207" lvl="1" indent="-126207" fontAlgn="base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Possibility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of one-person locomotive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driving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lvl="1" indent="-126207" fontAlgn="base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Minimizing time needed to switch the point or prepare the route</a:t>
            </a:r>
            <a:endParaRPr lang="ru-RU" sz="2000" b="1" dirty="0" smtClean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lvl="1" indent="-126207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Integration with automatic process </a:t>
            </a:r>
            <a:r>
              <a:rPr lang="en-US" sz="2000" b="1" smtClean="0">
                <a:solidFill>
                  <a:srgbClr val="3D4248"/>
                </a:solidFill>
                <a:latin typeface="Century Gothic" panose="020B0502020202020204" pitchFamily="34" charset="0"/>
              </a:rPr>
              <a:t>control system</a:t>
            </a:r>
            <a:endParaRPr lang="ru-RU" sz="2000" b="1" dirty="0" smtClean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lvl="1" indent="-126207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Hardware manufacturer independency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9913017-7D33-422F-B450-B3AB3CDF68B4}"/>
              </a:ext>
            </a:extLst>
          </p:cNvPr>
          <p:cNvSpPr/>
          <p:nvPr/>
        </p:nvSpPr>
        <p:spPr>
          <a:xfrm>
            <a:off x="6112442" y="8949806"/>
            <a:ext cx="2954119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PPLICATION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SCOPE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BA7E5A34-7EDE-4B87-A32F-A3319051B4E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13270024" y="8722291"/>
            <a:ext cx="588845" cy="45980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1AE996B-43EB-4281-B7E3-88DD609E63F8}"/>
              </a:ext>
            </a:extLst>
          </p:cNvPr>
          <p:cNvSpPr txBox="1"/>
          <p:nvPr/>
        </p:nvSpPr>
        <p:spPr>
          <a:xfrm>
            <a:off x="12469564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INDUSTRIAL </a:t>
            </a:r>
            <a:endParaRPr lang="en-US" sz="1200" dirty="0"/>
          </a:p>
          <a:p>
            <a:pPr algn="ctr"/>
            <a:r>
              <a:rPr lang="en-US" sz="1200" dirty="0"/>
              <a:t>TRANSPORT</a:t>
            </a:r>
            <a:endParaRPr lang="ru-RU" sz="1200" dirty="0"/>
          </a:p>
          <a:p>
            <a:pPr algn="ctr"/>
            <a:endParaRPr lang="ru-RU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9675" y="351290"/>
            <a:ext cx="2078024" cy="451420"/>
          </a:xfrm>
          <a:prstGeom prst="rect">
            <a:avLst/>
          </a:prstGeom>
        </p:spPr>
      </p:pic>
      <p:sp>
        <p:nvSpPr>
          <p:cNvPr id="26" name="Параллелограмм 25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5856582" y="-12699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799" y="122741"/>
            <a:ext cx="12669075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ru-RU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С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TRL</a:t>
            </a:r>
            <a:r>
              <a:rPr lang="en-US" sz="4000" b="1" spc="159" dirty="0">
                <a:solidFill>
                  <a:srgbClr val="F64047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@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POINT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A4C0EE39-C872-4143-BE7A-3AA84E84C6C7}"/>
              </a:ext>
            </a:extLst>
          </p:cNvPr>
          <p:cNvSpPr/>
          <p:nvPr/>
        </p:nvSpPr>
        <p:spPr>
          <a:xfrm>
            <a:off x="8001000" y="1866900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E91FFF7-4276-43DC-972D-462B6925920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2"/>
          <a:stretch/>
        </p:blipFill>
        <p:spPr>
          <a:xfrm>
            <a:off x="8022461" y="1977750"/>
            <a:ext cx="1382539" cy="1197527"/>
          </a:xfrm>
          <a:prstGeom prst="rect">
            <a:avLst/>
          </a:prstGeom>
        </p:spPr>
      </p:pic>
      <p:sp>
        <p:nvSpPr>
          <p:cNvPr id="32" name="Овал 31">
            <a:extLst>
              <a:ext uri="{FF2B5EF4-FFF2-40B4-BE49-F238E27FC236}">
                <a16:creationId xmlns:a16="http://schemas.microsoft.com/office/drawing/2014/main" id="{B27E1F5C-A93D-465F-8208-E799E6A3AE63}"/>
              </a:ext>
            </a:extLst>
          </p:cNvPr>
          <p:cNvSpPr/>
          <p:nvPr/>
        </p:nvSpPr>
        <p:spPr>
          <a:xfrm>
            <a:off x="7543800" y="5404337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0C7108FD-5150-49DC-8DDE-F750C025F77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07"/>
          <a:stretch/>
        </p:blipFill>
        <p:spPr>
          <a:xfrm>
            <a:off x="7671491" y="5548971"/>
            <a:ext cx="1210098" cy="1032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0402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3"/>
          <a:stretch/>
        </p:blipFill>
        <p:spPr>
          <a:xfrm>
            <a:off x="-2965" y="4914900"/>
            <a:ext cx="6631415" cy="5366657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66D2C38D-037E-43C9-AC55-6CF210F37BB5}"/>
              </a:ext>
            </a:extLst>
          </p:cNvPr>
          <p:cNvSpPr/>
          <p:nvPr/>
        </p:nvSpPr>
        <p:spPr>
          <a:xfrm>
            <a:off x="-19371" y="1"/>
            <a:ext cx="7539743" cy="10287000"/>
          </a:xfrm>
          <a:prstGeom prst="rect">
            <a:avLst/>
          </a:prstGeom>
          <a:gradFill>
            <a:gsLst>
              <a:gs pos="45000">
                <a:schemeClr val="accent1">
                  <a:lumMod val="5000"/>
                  <a:lumOff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228599" y="1359863"/>
            <a:ext cx="6802437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omputer-based </a:t>
            </a: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Track Circuits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429897" y="26092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44167132-D1B7-4DAA-A1C5-917CEEA4AA31}"/>
              </a:ext>
            </a:extLst>
          </p:cNvPr>
          <p:cNvSpPr/>
          <p:nvPr/>
        </p:nvSpPr>
        <p:spPr>
          <a:xfrm>
            <a:off x="6934200" y="3445562"/>
            <a:ext cx="3591621" cy="1018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KEY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 FUNCTIONS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6AE3598E-B28B-4DE3-A82A-E704218A4061}"/>
              </a:ext>
            </a:extLst>
          </p:cNvPr>
          <p:cNvCxnSpPr>
            <a:cxnSpLocks/>
          </p:cNvCxnSpPr>
          <p:nvPr/>
        </p:nvCxnSpPr>
        <p:spPr>
          <a:xfrm>
            <a:off x="6477000" y="8191500"/>
            <a:ext cx="116579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0567FE3-F9DA-4033-94FA-6FF5B3D36B61}"/>
              </a:ext>
            </a:extLst>
          </p:cNvPr>
          <p:cNvCxnSpPr>
            <a:cxnSpLocks/>
          </p:cNvCxnSpPr>
          <p:nvPr/>
        </p:nvCxnSpPr>
        <p:spPr>
          <a:xfrm>
            <a:off x="7010400" y="4686300"/>
            <a:ext cx="111245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ятиугольник 1">
            <a:extLst>
              <a:ext uri="{FF2B5EF4-FFF2-40B4-BE49-F238E27FC236}">
                <a16:creationId xmlns:a16="http://schemas.microsoft.com/office/drawing/2014/main" id="{7FE95897-4DE3-4479-BD0D-678727A6CE56}"/>
              </a:ext>
            </a:extLst>
          </p:cNvPr>
          <p:cNvSpPr/>
          <p:nvPr/>
        </p:nvSpPr>
        <p:spPr>
          <a:xfrm>
            <a:off x="10406681" y="1485900"/>
            <a:ext cx="7748226" cy="2870106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24000" rIns="48000" bIns="24000" rtlCol="0" anchor="ctr"/>
          <a:lstStyle/>
          <a:p>
            <a:pPr marL="126207" lvl="1" indent="-126207" fontAlgn="base">
              <a:lnSpc>
                <a:spcPct val="115000"/>
              </a:lnSpc>
              <a:spcBef>
                <a:spcPct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en-US" sz="2000" dirty="0">
                <a:solidFill>
                  <a:prstClr val="black"/>
                </a:solidFill>
                <a:latin typeface="Clear Sans Regular" panose="020B0604020202020204" charset="0"/>
                <a:ea typeface="Verdana" panose="020B0604030504040204" pitchFamily="34" charset="0"/>
                <a:cs typeface="Clear Sans Regular" panose="020B060402020202020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Track</a:t>
            </a: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occupancy control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  <a:p>
            <a:pPr marL="126207" lvl="1" indent="-126207" fontAlgn="base">
              <a:lnSpc>
                <a:spcPct val="115000"/>
              </a:lnSpc>
              <a:spcBef>
                <a:spcPct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I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nterface with relay and computer-based interlocking systems </a:t>
            </a:r>
          </a:p>
          <a:p>
            <a:pPr marL="126207" lvl="1" indent="-126207" fontAlgn="base">
              <a:lnSpc>
                <a:spcPct val="115000"/>
              </a:lnSpc>
              <a:spcBef>
                <a:spcPct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Code generation for onboard ATP syste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m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  <a:p>
            <a:pPr marL="126207" lvl="1" indent="-126207" fontAlgn="base">
              <a:lnSpc>
                <a:spcPct val="115000"/>
              </a:lnSpc>
              <a:spcBef>
                <a:spcPct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Diagnostics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of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track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circuits and system equipment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  <a:p>
            <a:pPr marL="126207" lvl="1" indent="-126207" fontAlgn="base">
              <a:lnSpc>
                <a:spcPct val="115000"/>
              </a:lnSpc>
              <a:spcBef>
                <a:spcPct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S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ystem runtime logging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  <a:p>
            <a:pPr marL="63503" lvl="1" indent="-63503" defTabSz="609630">
              <a:buFont typeface="Wingdings" panose="05000000000000000000" pitchFamily="2" charset="2"/>
              <a:buChar char="§"/>
              <a:tabLst>
                <a:tab pos="63503" algn="l"/>
                <a:tab pos="237079" algn="l"/>
              </a:tabLst>
            </a:pPr>
            <a:endParaRPr lang="ru-RU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Прямоугольник 1">
            <a:extLst>
              <a:ext uri="{FF2B5EF4-FFF2-40B4-BE49-F238E27FC236}">
                <a16:creationId xmlns:a16="http://schemas.microsoft.com/office/drawing/2014/main" id="{BF327DC7-474D-4A28-9A63-385C031EAB66}"/>
              </a:ext>
            </a:extLst>
          </p:cNvPr>
          <p:cNvSpPr/>
          <p:nvPr/>
        </p:nvSpPr>
        <p:spPr>
          <a:xfrm>
            <a:off x="10357038" y="4914900"/>
            <a:ext cx="7930629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Adaptation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and certification for EU and CIS markets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Portable design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Integration</a:t>
            </a: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: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track circuits + coding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Ready for predictive maintenance </a:t>
            </a: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/>
            </a:r>
            <a:b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</a:br>
            <a:r>
              <a:rPr lang="ru-RU" sz="2000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(</a:t>
            </a:r>
            <a:r>
              <a:rPr lang="en-US" sz="2000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instead if routine maintenance</a:t>
            </a:r>
            <a:r>
              <a:rPr lang="ru-RU" sz="2000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) </a:t>
            </a:r>
            <a:endParaRPr lang="ru-RU" sz="2000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  <a:sym typeface="Arial" panose="020B0604020202020204"/>
              </a:rPr>
              <a:t>Enhanced runtime self-check functions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  <a:sym typeface="Arial" panose="020B0604020202020204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ACED73F1-819B-44A1-BB8B-8CD6095FBCF6}"/>
              </a:ext>
            </a:extLst>
          </p:cNvPr>
          <p:cNvSpPr/>
          <p:nvPr/>
        </p:nvSpPr>
        <p:spPr>
          <a:xfrm>
            <a:off x="6799481" y="6999740"/>
            <a:ext cx="2954119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CUSTOMER </a:t>
            </a:r>
          </a:p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BENIFITS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5CD91F4-8135-448B-BE4D-4AB585E2436E}"/>
              </a:ext>
            </a:extLst>
          </p:cNvPr>
          <p:cNvSpPr/>
          <p:nvPr/>
        </p:nvSpPr>
        <p:spPr>
          <a:xfrm>
            <a:off x="6112442" y="8949806"/>
            <a:ext cx="2954119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PPLICATION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SCOPE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602C128-BF1B-45FF-BCC4-E1D948DF1E4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18"/>
          <a:stretch/>
        </p:blipFill>
        <p:spPr>
          <a:xfrm>
            <a:off x="12382860" y="8686212"/>
            <a:ext cx="605650" cy="430013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F4BDE3AE-9656-4C9A-8CD8-D21F9B35D297}"/>
              </a:ext>
            </a:extLst>
          </p:cNvPr>
          <p:cNvSpPr txBox="1"/>
          <p:nvPr/>
        </p:nvSpPr>
        <p:spPr>
          <a:xfrm>
            <a:off x="11582400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URBAN TRANSPORT</a:t>
            </a:r>
            <a:br>
              <a:rPr lang="en-US" sz="1200" dirty="0"/>
            </a:br>
            <a:r>
              <a:rPr lang="en-US" sz="1200" dirty="0"/>
              <a:t>(INCL. METRO)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19AC1E4A-022F-4A7B-B629-C0551CCF378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4574956" y="8656416"/>
            <a:ext cx="588844" cy="45980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C25A5F9-5078-4E63-A1C5-D69308F308C8}"/>
              </a:ext>
            </a:extLst>
          </p:cNvPr>
          <p:cNvSpPr txBox="1"/>
          <p:nvPr/>
        </p:nvSpPr>
        <p:spPr>
          <a:xfrm>
            <a:off x="13734959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MAINLINE</a:t>
            </a:r>
          </a:p>
          <a:p>
            <a:pPr algn="ctr"/>
            <a:r>
              <a:rPr lang="en-US" sz="1200" dirty="0"/>
              <a:t> TRANSPORT</a:t>
            </a:r>
            <a:endParaRPr lang="ru-RU" sz="12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3944" y="359187"/>
            <a:ext cx="2078024" cy="451420"/>
          </a:xfrm>
          <a:prstGeom prst="rect">
            <a:avLst/>
          </a:prstGeom>
        </p:spPr>
      </p:pic>
      <p:sp>
        <p:nvSpPr>
          <p:cNvPr id="37" name="Параллелограмм 36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54864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799" y="122741"/>
            <a:ext cx="12669075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ru-RU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С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TRL</a:t>
            </a:r>
            <a:r>
              <a:rPr lang="en-US" sz="4000" b="1" spc="159" dirty="0">
                <a:solidFill>
                  <a:srgbClr val="F64047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@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TRACK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A4C0EE39-C872-4143-BE7A-3AA84E84C6C7}"/>
              </a:ext>
            </a:extLst>
          </p:cNvPr>
          <p:cNvSpPr/>
          <p:nvPr/>
        </p:nvSpPr>
        <p:spPr>
          <a:xfrm>
            <a:off x="8001000" y="1866900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CE91FFF7-4276-43DC-972D-462B6925920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2"/>
          <a:stretch/>
        </p:blipFill>
        <p:spPr>
          <a:xfrm>
            <a:off x="8022461" y="1977750"/>
            <a:ext cx="1382539" cy="1197527"/>
          </a:xfrm>
          <a:prstGeom prst="rect">
            <a:avLst/>
          </a:prstGeom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B27E1F5C-A93D-465F-8208-E799E6A3AE63}"/>
              </a:ext>
            </a:extLst>
          </p:cNvPr>
          <p:cNvSpPr/>
          <p:nvPr/>
        </p:nvSpPr>
        <p:spPr>
          <a:xfrm>
            <a:off x="7543800" y="5404337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0C7108FD-5150-49DC-8DDE-F750C025F77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07"/>
          <a:stretch/>
        </p:blipFill>
        <p:spPr>
          <a:xfrm>
            <a:off x="7650952" y="5521068"/>
            <a:ext cx="1210098" cy="1032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5745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4" name="Picture 8" descr="TIME LAPSE. Станция Москва-Пассажирская-Казанская - YouTube">
            <a:extLst>
              <a:ext uri="{FF2B5EF4-FFF2-40B4-BE49-F238E27FC236}">
                <a16:creationId xmlns:a16="http://schemas.microsoft.com/office/drawing/2014/main" id="{B390E2C0-D960-4303-A491-BA73259649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1" y="5565945"/>
            <a:ext cx="8386034" cy="4717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66D2C38D-037E-43C9-AC55-6CF210F37BB5}"/>
              </a:ext>
            </a:extLst>
          </p:cNvPr>
          <p:cNvSpPr/>
          <p:nvPr/>
        </p:nvSpPr>
        <p:spPr>
          <a:xfrm>
            <a:off x="0" y="-3910"/>
            <a:ext cx="7576862" cy="10286999"/>
          </a:xfrm>
          <a:prstGeom prst="rect">
            <a:avLst/>
          </a:prstGeom>
          <a:gradFill>
            <a:gsLst>
              <a:gs pos="45000">
                <a:schemeClr val="accent1">
                  <a:lumMod val="5000"/>
                  <a:lumOff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228599" y="1359863"/>
            <a:ext cx="6802437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omputer-based Interlocking</a:t>
            </a:r>
            <a:r>
              <a:rPr lang="ru-RU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en-US" sz="32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for</a:t>
            </a:r>
            <a:r>
              <a:rPr lang="ru-RU" sz="32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32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open lines and stations  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334000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44167132-D1B7-4DAA-A1C5-917CEEA4AA31}"/>
              </a:ext>
            </a:extLst>
          </p:cNvPr>
          <p:cNvSpPr/>
          <p:nvPr/>
        </p:nvSpPr>
        <p:spPr>
          <a:xfrm>
            <a:off x="6934200" y="3445562"/>
            <a:ext cx="3591621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KEY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 FUNCTIONS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74" name="Параллелограмм 73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54102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6AE3598E-B28B-4DE3-A82A-E704218A4061}"/>
              </a:ext>
            </a:extLst>
          </p:cNvPr>
          <p:cNvCxnSpPr>
            <a:cxnSpLocks/>
          </p:cNvCxnSpPr>
          <p:nvPr/>
        </p:nvCxnSpPr>
        <p:spPr>
          <a:xfrm>
            <a:off x="6477000" y="8191500"/>
            <a:ext cx="116579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0567FE3-F9DA-4033-94FA-6FF5B3D36B61}"/>
              </a:ext>
            </a:extLst>
          </p:cNvPr>
          <p:cNvCxnSpPr>
            <a:cxnSpLocks/>
          </p:cNvCxnSpPr>
          <p:nvPr/>
        </p:nvCxnSpPr>
        <p:spPr>
          <a:xfrm>
            <a:off x="7010400" y="4686300"/>
            <a:ext cx="111245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ACED73F1-819B-44A1-BB8B-8CD6095FBCF6}"/>
              </a:ext>
            </a:extLst>
          </p:cNvPr>
          <p:cNvSpPr/>
          <p:nvPr/>
        </p:nvSpPr>
        <p:spPr>
          <a:xfrm>
            <a:off x="6799481" y="6999740"/>
            <a:ext cx="2954119" cy="1018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USTOMER 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BENIFITS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EC14071B-C751-42FB-A0DD-7F12E38173FD}"/>
              </a:ext>
            </a:extLst>
          </p:cNvPr>
          <p:cNvSpPr/>
          <p:nvPr/>
        </p:nvSpPr>
        <p:spPr>
          <a:xfrm>
            <a:off x="304799" y="4118509"/>
            <a:ext cx="301507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In partnership with</a:t>
            </a:r>
            <a:r>
              <a:rPr lang="ru-RU" sz="24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:</a:t>
            </a:r>
            <a:endParaRPr lang="en-US" sz="3200" b="1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Пятиугольник 1">
            <a:extLst>
              <a:ext uri="{FF2B5EF4-FFF2-40B4-BE49-F238E27FC236}">
                <a16:creationId xmlns:a16="http://schemas.microsoft.com/office/drawing/2014/main" id="{A757BDF1-6430-4599-AF24-239A342E35F3}"/>
              </a:ext>
            </a:extLst>
          </p:cNvPr>
          <p:cNvSpPr/>
          <p:nvPr/>
        </p:nvSpPr>
        <p:spPr>
          <a:xfrm>
            <a:off x="10395975" y="1790700"/>
            <a:ext cx="7434825" cy="2153895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126207" marR="0" lvl="1" indent="-126207" fontAlgn="base">
              <a:lnSpc>
                <a:spcPct val="115000"/>
              </a:lnSpc>
              <a:spcBef>
                <a:spcPct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  <a:defRPr/>
            </a:pPr>
            <a:r>
              <a:rPr lang="ru-RU" sz="2000" b="1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smtClean="0">
                <a:solidFill>
                  <a:srgbClr val="3D4248"/>
                </a:solidFill>
                <a:latin typeface="Century Gothic" panose="020B0502020202020204" pitchFamily="34" charset="0"/>
              </a:rPr>
              <a:t>Automation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nd safe control over signaling operation at open lines and stations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marR="0" lvl="1" indent="-126207" fontAlgn="base">
              <a:lnSpc>
                <a:spcPct val="115000"/>
              </a:lnSpc>
              <a:spcBef>
                <a:spcPct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  <a:defRPr/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Infrastructure diagnostic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marR="0" lvl="1" indent="-126207" fontAlgn="base">
              <a:lnSpc>
                <a:spcPct val="115000"/>
              </a:lnSpc>
              <a:spcBef>
                <a:spcPct val="0"/>
              </a:spcBef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  <a:defRPr/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Fixed block signaling 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2B5D76B-5514-4879-8CEB-2CAF8A95E453}"/>
              </a:ext>
            </a:extLst>
          </p:cNvPr>
          <p:cNvSpPr txBox="1"/>
          <p:nvPr/>
        </p:nvSpPr>
        <p:spPr>
          <a:xfrm>
            <a:off x="10379364" y="5193888"/>
            <a:ext cx="772833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Package offer </a:t>
            </a: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ru-RU" sz="20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(</a:t>
            </a:r>
            <a:r>
              <a:rPr lang="en-US" sz="20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rolling stock, service, signaling, centralized traffic control</a:t>
            </a:r>
            <a:r>
              <a:rPr lang="ru-RU" sz="20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)</a:t>
            </a:r>
            <a:endParaRPr lang="en-US" sz="2000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No dependency in one hardware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manufacturer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Easily configurable system for any requirements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B75BBC8-E361-4E0D-9BEA-1FF0D2C316CC}"/>
              </a:ext>
            </a:extLst>
          </p:cNvPr>
          <p:cNvSpPr/>
          <p:nvPr/>
        </p:nvSpPr>
        <p:spPr>
          <a:xfrm>
            <a:off x="6112442" y="8949806"/>
            <a:ext cx="2954119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PPLICATION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lvl="0"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SCOPE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5AA50F05-D730-446A-A18F-77BBA3A8D9A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18"/>
          <a:stretch/>
        </p:blipFill>
        <p:spPr>
          <a:xfrm>
            <a:off x="12900531" y="8686212"/>
            <a:ext cx="605650" cy="430013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2651244-F4C5-4F26-92A2-845CD51C55D5}"/>
              </a:ext>
            </a:extLst>
          </p:cNvPr>
          <p:cNvSpPr txBox="1"/>
          <p:nvPr/>
        </p:nvSpPr>
        <p:spPr>
          <a:xfrm>
            <a:off x="12100071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URBAN </a:t>
            </a:r>
            <a:r>
              <a:rPr lang="en-US" sz="1200" dirty="0"/>
              <a:t>TRANSPORT</a:t>
            </a:r>
            <a:br>
              <a:rPr lang="en-US" sz="1200" dirty="0"/>
            </a:br>
            <a:r>
              <a:rPr lang="en-US" sz="1200" dirty="0"/>
              <a:t>(INCL. METRO)</a:t>
            </a:r>
            <a:endParaRPr lang="ru-RU" sz="1200" dirty="0"/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A5684574-FC8C-4F5B-AC50-66D2D2A4EC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5092627" y="8656416"/>
            <a:ext cx="588844" cy="459809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95E5202-F971-4BBB-A068-4164EBCECF82}"/>
              </a:ext>
            </a:extLst>
          </p:cNvPr>
          <p:cNvSpPr txBox="1"/>
          <p:nvPr/>
        </p:nvSpPr>
        <p:spPr>
          <a:xfrm>
            <a:off x="14252630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MAINLINE</a:t>
            </a:r>
            <a:endParaRPr lang="en-US" sz="1200" dirty="0"/>
          </a:p>
          <a:p>
            <a:pPr algn="ctr"/>
            <a:r>
              <a:rPr lang="en-US" sz="1200" dirty="0"/>
              <a:t> TRANSPORT</a:t>
            </a:r>
          </a:p>
          <a:p>
            <a:pPr algn="ctr"/>
            <a:endParaRPr lang="ru-RU" sz="1200" dirty="0"/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814E87A8-3A54-4C02-B3EA-D2C170D5646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10706460" y="8715935"/>
            <a:ext cx="588845" cy="459809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C84EBEB5-6AE7-4C62-92AF-6399D28DC906}"/>
              </a:ext>
            </a:extLst>
          </p:cNvPr>
          <p:cNvSpPr txBox="1"/>
          <p:nvPr/>
        </p:nvSpPr>
        <p:spPr>
          <a:xfrm>
            <a:off x="9906000" y="9307527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INDUSTRIAL </a:t>
            </a:r>
            <a:endParaRPr lang="en-US" sz="1200" dirty="0"/>
          </a:p>
          <a:p>
            <a:pPr algn="ctr"/>
            <a:r>
              <a:rPr lang="en-US" sz="1200" dirty="0"/>
              <a:t>TRANSPORT</a:t>
            </a:r>
          </a:p>
          <a:p>
            <a:pPr algn="ctr"/>
            <a:endParaRPr lang="ru-RU" sz="12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5800" y="383260"/>
            <a:ext cx="2078024" cy="451420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3183" y="4760880"/>
            <a:ext cx="1534954" cy="605860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4381500"/>
            <a:ext cx="1386521" cy="1386521"/>
          </a:xfrm>
          <a:prstGeom prst="rect">
            <a:avLst/>
          </a:prstGeom>
        </p:spPr>
      </p:pic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799" y="122741"/>
            <a:ext cx="12669075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ru-RU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С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TRL</a:t>
            </a:r>
            <a:r>
              <a:rPr lang="en-US" sz="4000" b="1" spc="159" dirty="0">
                <a:solidFill>
                  <a:srgbClr val="F64047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@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LOCK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A4C0EE39-C872-4143-BE7A-3AA84E84C6C7}"/>
              </a:ext>
            </a:extLst>
          </p:cNvPr>
          <p:cNvSpPr/>
          <p:nvPr/>
        </p:nvSpPr>
        <p:spPr>
          <a:xfrm>
            <a:off x="8001000" y="1866900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CE91FFF7-4276-43DC-972D-462B6925920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2"/>
          <a:stretch/>
        </p:blipFill>
        <p:spPr>
          <a:xfrm>
            <a:off x="8022461" y="1977750"/>
            <a:ext cx="1382539" cy="1197527"/>
          </a:xfrm>
          <a:prstGeom prst="rect">
            <a:avLst/>
          </a:prstGeom>
        </p:spPr>
      </p:pic>
      <p:sp>
        <p:nvSpPr>
          <p:cNvPr id="48" name="Овал 47">
            <a:extLst>
              <a:ext uri="{FF2B5EF4-FFF2-40B4-BE49-F238E27FC236}">
                <a16:creationId xmlns:a16="http://schemas.microsoft.com/office/drawing/2014/main" id="{B27E1F5C-A93D-465F-8208-E799E6A3AE63}"/>
              </a:ext>
            </a:extLst>
          </p:cNvPr>
          <p:cNvSpPr/>
          <p:nvPr/>
        </p:nvSpPr>
        <p:spPr>
          <a:xfrm>
            <a:off x="7543800" y="5404337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0C7108FD-5150-49DC-8DDE-F750C025F77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07"/>
          <a:stretch/>
        </p:blipFill>
        <p:spPr>
          <a:xfrm>
            <a:off x="7650952" y="5521068"/>
            <a:ext cx="1210098" cy="1032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400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17"/>
          <a:stretch/>
        </p:blipFill>
        <p:spPr>
          <a:xfrm>
            <a:off x="0" y="5535286"/>
            <a:ext cx="6650982" cy="4754763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66D2C38D-037E-43C9-AC55-6CF210F37BB5}"/>
              </a:ext>
            </a:extLst>
          </p:cNvPr>
          <p:cNvSpPr/>
          <p:nvPr/>
        </p:nvSpPr>
        <p:spPr>
          <a:xfrm>
            <a:off x="-1489" y="0"/>
            <a:ext cx="7516631" cy="10304189"/>
          </a:xfrm>
          <a:prstGeom prst="rect">
            <a:avLst/>
          </a:prstGeom>
          <a:gradFill>
            <a:gsLst>
              <a:gs pos="45000">
                <a:schemeClr val="accent1">
                  <a:lumMod val="5000"/>
                  <a:lumOff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228599" y="1359863"/>
            <a:ext cx="6802437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utonomous traffic </a:t>
            </a:r>
            <a:r>
              <a:rPr lang="ru-RU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en-US" sz="24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utonomous traffic </a:t>
            </a:r>
            <a:r>
              <a:rPr lang="en-US" sz="2400" dirty="0">
                <a:solidFill>
                  <a:srgbClr val="3D4248"/>
                </a:solidFill>
                <a:latin typeface="Century Gothic" panose="020B0502020202020204" pitchFamily="34" charset="0"/>
              </a:rPr>
              <a:t>control system </a:t>
            </a:r>
            <a:r>
              <a:rPr lang="en-US" sz="24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for metro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763298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44167132-D1B7-4DAA-A1C5-917CEEA4AA31}"/>
              </a:ext>
            </a:extLst>
          </p:cNvPr>
          <p:cNvSpPr/>
          <p:nvPr/>
        </p:nvSpPr>
        <p:spPr>
          <a:xfrm>
            <a:off x="6934200" y="3445562"/>
            <a:ext cx="3591621" cy="1018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KEY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 FUNCTIONS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392613EC-9585-44F9-964D-1C91E919EB54}"/>
              </a:ext>
            </a:extLst>
          </p:cNvPr>
          <p:cNvSpPr/>
          <p:nvPr/>
        </p:nvSpPr>
        <p:spPr>
          <a:xfrm>
            <a:off x="6799481" y="6999740"/>
            <a:ext cx="2954119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USTOMER 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>
                <a:solidFill>
                  <a:srgbClr val="3D4248"/>
                </a:solidFill>
                <a:latin typeface="Century Gothic" panose="020B0502020202020204" pitchFamily="34" charset="0"/>
              </a:rPr>
              <a:t>BENIFITS</a:t>
            </a:r>
          </a:p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FBA722F9-62BB-4347-B10B-85BC3A8D91E4}"/>
              </a:ext>
            </a:extLst>
          </p:cNvPr>
          <p:cNvGrpSpPr/>
          <p:nvPr/>
        </p:nvGrpSpPr>
        <p:grpSpPr>
          <a:xfrm>
            <a:off x="8010056" y="1888572"/>
            <a:ext cx="1404000" cy="1404000"/>
            <a:chOff x="8010056" y="1888572"/>
            <a:chExt cx="1404000" cy="1404000"/>
          </a:xfrm>
        </p:grpSpPr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A4C0EE39-C872-4143-BE7A-3AA84E84C6C7}"/>
                </a:ext>
              </a:extLst>
            </p:cNvPr>
            <p:cNvSpPr/>
            <p:nvPr/>
          </p:nvSpPr>
          <p:spPr>
            <a:xfrm>
              <a:off x="8010056" y="1888572"/>
              <a:ext cx="1404000" cy="1404000"/>
            </a:xfrm>
            <a:prstGeom prst="ellipse">
              <a:avLst/>
            </a:prstGeom>
            <a:solidFill>
              <a:srgbClr val="F64047"/>
            </a:solidFill>
            <a:ln>
              <a:solidFill>
                <a:srgbClr val="F64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200"/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CE91FFF7-4276-43DC-972D-462B692592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82"/>
            <a:stretch/>
          </p:blipFill>
          <p:spPr>
            <a:xfrm>
              <a:off x="8030028" y="2006322"/>
              <a:ext cx="1382539" cy="1197527"/>
            </a:xfrm>
            <a:prstGeom prst="rect">
              <a:avLst/>
            </a:prstGeom>
          </p:spPr>
        </p:pic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355779EB-E11F-4938-ADB8-C24FCCDBB5E0}"/>
              </a:ext>
            </a:extLst>
          </p:cNvPr>
          <p:cNvGrpSpPr/>
          <p:nvPr/>
        </p:nvGrpSpPr>
        <p:grpSpPr>
          <a:xfrm>
            <a:off x="7435200" y="5400483"/>
            <a:ext cx="1404000" cy="1404000"/>
            <a:chOff x="8001000" y="5400483"/>
            <a:chExt cx="1404000" cy="1404000"/>
          </a:xfrm>
        </p:grpSpPr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B27E1F5C-A93D-465F-8208-E799E6A3AE63}"/>
                </a:ext>
              </a:extLst>
            </p:cNvPr>
            <p:cNvSpPr/>
            <p:nvPr/>
          </p:nvSpPr>
          <p:spPr>
            <a:xfrm>
              <a:off x="8001000" y="5400483"/>
              <a:ext cx="1404000" cy="1404000"/>
            </a:xfrm>
            <a:prstGeom prst="ellipse">
              <a:avLst/>
            </a:prstGeom>
            <a:solidFill>
              <a:srgbClr val="F64047"/>
            </a:solidFill>
            <a:ln>
              <a:solidFill>
                <a:srgbClr val="F64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200"/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0C7108FD-5150-49DC-8DDE-F750C025F7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707"/>
            <a:stretch/>
          </p:blipFill>
          <p:spPr>
            <a:xfrm>
              <a:off x="8083920" y="5586417"/>
              <a:ext cx="1210098" cy="1032132"/>
            </a:xfrm>
            <a:prstGeom prst="rect">
              <a:avLst/>
            </a:prstGeom>
          </p:spPr>
        </p:pic>
      </p:grpSp>
      <p:sp>
        <p:nvSpPr>
          <p:cNvPr id="74" name="Параллелограмм 73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57912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D2B7C56A-C8EF-4458-8E66-0903A75E6903}"/>
              </a:ext>
            </a:extLst>
          </p:cNvPr>
          <p:cNvSpPr/>
          <p:nvPr/>
        </p:nvSpPr>
        <p:spPr>
          <a:xfrm>
            <a:off x="10358860" y="1485900"/>
            <a:ext cx="7748838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entralized traffic control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utomatic Train Operation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Operational control and traffic management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Traffic schedule adjustment 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Online monitoring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and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diagnostic of rolling stock and infrastructure 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6AE3598E-B28B-4DE3-A82A-E704218A4061}"/>
              </a:ext>
            </a:extLst>
          </p:cNvPr>
          <p:cNvCxnSpPr>
            <a:cxnSpLocks/>
          </p:cNvCxnSpPr>
          <p:nvPr/>
        </p:nvCxnSpPr>
        <p:spPr>
          <a:xfrm>
            <a:off x="6477000" y="8191500"/>
            <a:ext cx="116579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0567FE3-F9DA-4033-94FA-6FF5B3D36B61}"/>
              </a:ext>
            </a:extLst>
          </p:cNvPr>
          <p:cNvCxnSpPr>
            <a:cxnSpLocks/>
          </p:cNvCxnSpPr>
          <p:nvPr/>
        </p:nvCxnSpPr>
        <p:spPr>
          <a:xfrm>
            <a:off x="7010400" y="4686300"/>
            <a:ext cx="111245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ятиугольник 1">
            <a:extLst>
              <a:ext uri="{FF2B5EF4-FFF2-40B4-BE49-F238E27FC236}">
                <a16:creationId xmlns:a16="http://schemas.microsoft.com/office/drawing/2014/main" id="{F7F7DFD4-E032-4D2B-832B-C72DFA79FC05}"/>
              </a:ext>
            </a:extLst>
          </p:cNvPr>
          <p:cNvSpPr/>
          <p:nvPr/>
        </p:nvSpPr>
        <p:spPr>
          <a:xfrm>
            <a:off x="10393235" y="5123354"/>
            <a:ext cx="7419081" cy="2687146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24000" rIns="48000" bIns="24000" rtlCol="0" anchor="ctr"/>
          <a:lstStyle/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en-US" sz="2000" dirty="0">
                <a:solidFill>
                  <a:prstClr val="black"/>
                </a:solidFill>
                <a:latin typeface="Clear Sans Regular" panose="020B0604020202020204" charset="0"/>
                <a:ea typeface="Verdana" panose="020B0604030504040204" pitchFamily="34" charset="0"/>
                <a:cs typeface="Clear Sans Regular" panose="020B060402020202020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Increase of traffic capacity without additional CAPEX*</a:t>
            </a: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Elimination of traffic bottlenecks to achieve designed traffic capacity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Energy saving at train operation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lvl="1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Quick response to emergency situation</a:t>
            </a: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nd fast recovery after failures</a:t>
            </a:r>
            <a:endParaRPr lang="en-US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7E68A8F-87E6-4C93-A1B6-F192D81B1481}"/>
              </a:ext>
            </a:extLst>
          </p:cNvPr>
          <p:cNvSpPr/>
          <p:nvPr/>
        </p:nvSpPr>
        <p:spPr>
          <a:xfrm>
            <a:off x="6055398" y="10033456"/>
            <a:ext cx="1223260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latin typeface="Century Gothic" panose="020B0502020202020204" pitchFamily="34" charset="0"/>
              </a:rPr>
              <a:t>* up </a:t>
            </a:r>
            <a:r>
              <a:rPr lang="en-US" sz="900" dirty="0">
                <a:latin typeface="Century Gothic" panose="020B0502020202020204" pitchFamily="34" charset="0"/>
              </a:rPr>
              <a:t>to 125 thousand passengers per line (on the example of the </a:t>
            </a:r>
            <a:r>
              <a:rPr lang="en-US" sz="900" dirty="0" err="1">
                <a:latin typeface="Century Gothic" panose="020B0502020202020204" pitchFamily="34" charset="0"/>
              </a:rPr>
              <a:t>Filevskaya</a:t>
            </a:r>
            <a:r>
              <a:rPr lang="en-US" sz="900" dirty="0">
                <a:latin typeface="Century Gothic" panose="020B0502020202020204" pitchFamily="34" charset="0"/>
              </a:rPr>
              <a:t> line of the Moscow metro</a:t>
            </a:r>
            <a:endParaRPr lang="ru-RU" sz="900" dirty="0">
              <a:latin typeface="Century Gothic" panose="020B0502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C6A2BE9-8B4E-4556-8732-4E8385F6DF33}"/>
              </a:ext>
            </a:extLst>
          </p:cNvPr>
          <p:cNvSpPr/>
          <p:nvPr/>
        </p:nvSpPr>
        <p:spPr>
          <a:xfrm>
            <a:off x="6026303" y="8949805"/>
            <a:ext cx="2954119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PPLICATION 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SCOPE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179D681-7B46-47D9-857D-E9D632167EB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14478000" y="8680786"/>
            <a:ext cx="588845" cy="459809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B523C86-985D-4364-8D1C-C80DFCB9FD5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18"/>
          <a:stretch/>
        </p:blipFill>
        <p:spPr>
          <a:xfrm>
            <a:off x="12382860" y="8686212"/>
            <a:ext cx="605650" cy="43001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C97C0D8-7F18-4950-B9BE-11B7E0E13160}"/>
              </a:ext>
            </a:extLst>
          </p:cNvPr>
          <p:cNvSpPr txBox="1"/>
          <p:nvPr/>
        </p:nvSpPr>
        <p:spPr>
          <a:xfrm>
            <a:off x="11582400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URBAN </a:t>
            </a:r>
            <a:r>
              <a:rPr lang="en-US" sz="1200" dirty="0"/>
              <a:t>TRANSPORT</a:t>
            </a:r>
            <a:r>
              <a:rPr lang="ru-RU" sz="1200" dirty="0"/>
              <a:t/>
            </a:r>
            <a:br>
              <a:rPr lang="ru-RU" sz="1200" dirty="0"/>
            </a:br>
            <a:r>
              <a:rPr lang="ru-RU" sz="1200" dirty="0"/>
              <a:t>(</a:t>
            </a:r>
            <a:r>
              <a:rPr lang="en-US" sz="1200" dirty="0"/>
              <a:t>INCL. METRO</a:t>
            </a:r>
            <a:r>
              <a:rPr lang="ru-RU" sz="1200" dirty="0"/>
              <a:t>)</a:t>
            </a:r>
          </a:p>
          <a:p>
            <a:pPr algn="ctr"/>
            <a:endParaRPr lang="ru-RU" sz="12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3642C33-6236-4CDC-B49E-BC4EE9CB44F4}"/>
              </a:ext>
            </a:extLst>
          </p:cNvPr>
          <p:cNvSpPr txBox="1"/>
          <p:nvPr/>
        </p:nvSpPr>
        <p:spPr>
          <a:xfrm>
            <a:off x="13734959" y="9313883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INDUSTRIAL </a:t>
            </a:r>
            <a:endParaRPr lang="en-US" sz="1200" dirty="0"/>
          </a:p>
          <a:p>
            <a:pPr algn="ctr"/>
            <a:r>
              <a:rPr lang="en-US" sz="1200" dirty="0"/>
              <a:t>TRANSPORT</a:t>
            </a:r>
            <a:endParaRPr lang="ru-RU" sz="1200" dirty="0"/>
          </a:p>
          <a:p>
            <a:pPr algn="ctr"/>
            <a:endParaRPr lang="ru-RU" sz="12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1820" y="382367"/>
            <a:ext cx="2078024" cy="451420"/>
          </a:xfrm>
          <a:prstGeom prst="rect">
            <a:avLst/>
          </a:prstGeom>
        </p:spPr>
      </p:pic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799" y="122741"/>
            <a:ext cx="12669075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ru-RU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С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TRL</a:t>
            </a:r>
            <a:r>
              <a:rPr lang="en-US" sz="4000" b="1" spc="159" dirty="0">
                <a:solidFill>
                  <a:srgbClr val="F64047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@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TRAFFIC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0768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799" y="122741"/>
            <a:ext cx="12669075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72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spc="159" noProof="0" dirty="0" smtClean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LET’S TALK!</a:t>
            </a:r>
            <a:endParaRPr kumimoji="0" lang="ru-RU" sz="4000" b="1" i="0" u="none" strike="noStrike" kern="1200" cap="none" spc="159" normalizeH="0" baseline="0" noProof="0" dirty="0">
              <a:ln>
                <a:noFill/>
              </a:ln>
              <a:solidFill>
                <a:srgbClr val="3D4248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lear Sans Regular" panose="020B0604020202020204" charset="0"/>
            </a:endParaRPr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763298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1" name="Group 5"/>
          <p:cNvGrpSpPr/>
          <p:nvPr/>
        </p:nvGrpSpPr>
        <p:grpSpPr>
          <a:xfrm>
            <a:off x="152400" y="2765942"/>
            <a:ext cx="10337041" cy="5613296"/>
            <a:chOff x="-215664" y="420180"/>
            <a:chExt cx="13782722" cy="7484394"/>
          </a:xfrm>
        </p:grpSpPr>
        <p:sp>
          <p:nvSpPr>
            <p:cNvPr id="42" name="TextBox 6"/>
            <p:cNvSpPr txBox="1"/>
            <p:nvPr/>
          </p:nvSpPr>
          <p:spPr>
            <a:xfrm>
              <a:off x="10980" y="420180"/>
              <a:ext cx="13556078" cy="74969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96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352" normalizeH="0" baseline="0" noProof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ADDRESS</a:t>
              </a:r>
              <a:endParaRPr kumimoji="0" lang="en-US" sz="2800" b="1" i="0" u="none" strike="noStrike" kern="1200" cap="none" spc="352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44" name="TextBox 7"/>
            <p:cNvSpPr txBox="1"/>
            <p:nvPr/>
          </p:nvSpPr>
          <p:spPr>
            <a:xfrm>
              <a:off x="-106249" y="1284108"/>
              <a:ext cx="9870831" cy="307776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lvl="0">
                <a:lnSpc>
                  <a:spcPts val="4500"/>
                </a:lnSpc>
                <a:defRPr/>
              </a:pPr>
              <a:r>
                <a:rPr lang="en-US" sz="3000" spc="30" noProof="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Moscow</a:t>
              </a:r>
              <a:r>
                <a:rPr kumimoji="0" lang="ru-RU" sz="3000" b="0" i="0" u="none" strike="noStrike" kern="1200" cap="none" spc="30" normalizeH="0" baseline="0" noProof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, </a:t>
              </a:r>
              <a:r>
                <a:rPr lang="sv-SE" sz="3000" spc="3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3rd Rybinskaya str. 18 </a:t>
              </a:r>
              <a:r>
                <a:rPr lang="sv-SE" sz="3000" spc="3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bld.22</a:t>
              </a:r>
            </a:p>
            <a:p>
              <a:pPr marL="0" marR="0" lvl="0" indent="0" algn="l" defTabSz="914400" rtl="0" eaLnBrk="1" fontAlgn="auto" latinLnBrk="0" hangingPunct="1">
                <a:lnSpc>
                  <a:spcPts val="4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000" spc="3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Business center</a:t>
              </a:r>
              <a:r>
                <a:rPr kumimoji="0" lang="ru-RU" sz="3000" b="0" i="0" u="none" strike="noStrike" kern="1200" cap="none" spc="30" normalizeH="0" baseline="0" noProof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 «</a:t>
              </a:r>
              <a:r>
                <a:rPr kumimoji="0" lang="en-US" sz="3000" b="0" i="0" u="none" strike="noStrike" kern="1200" cap="none" spc="30" normalizeH="0" baseline="0" noProof="0" dirty="0" err="1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Burevestnik</a:t>
              </a:r>
              <a:r>
                <a:rPr kumimoji="0" lang="ru-RU" sz="3000" b="0" i="0" u="none" strike="noStrike" kern="1200" cap="none" spc="30" normalizeH="0" baseline="0" noProof="0" dirty="0" smtClean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»</a:t>
              </a:r>
              <a:endParaRPr kumimoji="0" lang="ru-RU" sz="3000" b="0" i="0" u="none" strike="noStrike" kern="1200" cap="none" spc="3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4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000" b="0" i="0" u="none" strike="noStrike" kern="1200" cap="none" spc="3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4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0" i="0" u="none" strike="noStrike" kern="1200" cap="none" spc="3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45" name="TextBox 8"/>
            <p:cNvSpPr txBox="1"/>
            <p:nvPr/>
          </p:nvSpPr>
          <p:spPr>
            <a:xfrm>
              <a:off x="-153141" y="3877590"/>
              <a:ext cx="13556078" cy="74969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96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 spc="352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PHONE NUMBER</a:t>
              </a:r>
              <a:endParaRPr kumimoji="0" lang="en-US" sz="2800" b="1" i="0" u="none" strike="noStrike" kern="1200" cap="none" spc="352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46" name="TextBox 9"/>
            <p:cNvSpPr txBox="1"/>
            <p:nvPr/>
          </p:nvSpPr>
          <p:spPr>
            <a:xfrm>
              <a:off x="-215664" y="4646230"/>
              <a:ext cx="13556078" cy="69087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000" b="0" i="0" u="none" strike="noStrike" kern="1200" cap="none" spc="3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+7 (495) 899 0195 </a:t>
              </a:r>
              <a:endParaRPr kumimoji="0" lang="en-US" sz="3000" b="0" i="0" u="none" strike="noStrike" kern="1200" cap="none" spc="3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  <p:sp>
          <p:nvSpPr>
            <p:cNvPr id="47" name="TextBox 10"/>
            <p:cNvSpPr txBox="1"/>
            <p:nvPr/>
          </p:nvSpPr>
          <p:spPr>
            <a:xfrm>
              <a:off x="-153141" y="6575791"/>
              <a:ext cx="13556078" cy="74969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96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352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E</a:t>
              </a:r>
              <a:r>
                <a:rPr kumimoji="0" lang="ru-RU" sz="2800" b="1" i="0" u="none" strike="noStrike" kern="1200" cap="none" spc="352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-</a:t>
              </a:r>
              <a:r>
                <a:rPr kumimoji="0" lang="en-US" sz="2800" b="1" i="0" u="none" strike="noStrike" kern="1200" cap="none" spc="352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MAIL</a:t>
              </a:r>
            </a:p>
          </p:txBody>
        </p:sp>
        <p:sp>
          <p:nvSpPr>
            <p:cNvPr id="48" name="TextBox 11"/>
            <p:cNvSpPr txBox="1"/>
            <p:nvPr/>
          </p:nvSpPr>
          <p:spPr>
            <a:xfrm>
              <a:off x="-153141" y="7213701"/>
              <a:ext cx="13556078" cy="69087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5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b="0" i="0" u="none" strike="noStrike" kern="1200" cap="none" spc="30" normalizeH="0" baseline="0" noProof="0" dirty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info@locotech-signal.ru</a:t>
              </a:r>
            </a:p>
          </p:txBody>
        </p:sp>
      </p:grpSp>
      <p:sp>
        <p:nvSpPr>
          <p:cNvPr id="49" name="Параллелограмм 48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64008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77787" y="849075"/>
            <a:ext cx="6802437" cy="6145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HOW TO GET IN TOUCH</a:t>
            </a:r>
            <a:endParaRPr lang="en-US" sz="2000" b="1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76855" y="299192"/>
            <a:ext cx="2078024" cy="451420"/>
          </a:xfrm>
          <a:prstGeom prst="rect">
            <a:avLst/>
          </a:prstGeom>
        </p:spPr>
      </p:pic>
      <p:sp>
        <p:nvSpPr>
          <p:cNvPr id="2" name="AutoShape 2" descr="data:image/png;base64,iVBORw0KGgoAAAANSUhEUgAAAi8AAAIvCAYAAAC81DtEAAAAAXNSR0IArs4c6QAAAARnQU1BAACxjwv8YQUAAF07SURBVHhe7d15sFXF2f79hcwIyCiTTDKoCIoHcAJEIKKiIqJJRERCEmNCeDSpshzKoqxKWeZn+QchiDGYqAE0TgQRUTGKDBoRREQFZJ4RQUBEBGRY77766UPB6z6s7vWcvbN7+/1UdZK6S9bQq1eve5NUrgpxRgQAABCATNvyx5PsfwYAAAgC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hKhTjD/ueioVv67rvvzCjC2yt4lStXjqpUqRJVrFjRVpLl+5np+jROOsm9fz9y5MjRa8wHXV/VqlWjChUq2Eqyw4cPm+s7ePCgrbjJ5zPTOXRflSpVshU3pefSc3Cl51v6rAvVf+OZHThwwFbc6FnpXPl4ZigfaZ9ZCDLr+I9F2bzs378/ev/996N58+Z5v6T4v+vYsWN0wQUXRM2aNbOVZPv27Tv6zLTZ5VqXLl3MNTZo0MBWkn311Vfm+ubPn28ruaMPkq7vwgsvjGrWrGmrybZu3WrmcfHixbbiplOnTuZ8TZs2tZVk33777dFn5vPhbdmypbmvM844w1bcfPDBB+Z8O3bssJVk9erVM/fVrVs3Wyk8n3/+ubmvjz/+2FbcnHPOOebemjRpYivJ9u7de/SZHTp0yFaTtWrVyjyz9u3b24qbBQsWmPPt3LnTVpAvrVu3Ns+sXbt2tlI8irZ52b17d/SXv/zFjD179tgq8uX666+Pfv3rX5sGwdWuXbuOPjNtsLn2s5/9LPrNb37j9WKvX7/eXN/48eNtJXf0i0lzqGts1KiRrSb75JNPzDU+++yztuLmxz/+sTnfeeedZyvJvvzyy+ixxx4z51Pz6ap79+7mvvr3728rbv7+97+b861evdpWkumjO2LEiOiXv/ylrRQeNS2PPvpo9Pzzz9uKm5/85Cfm3tTEuNq+ffvR98znh12PHj3MM7vyyittxc3f/vY3c661a9faCvLlkksuMc/s8ssvt5XioeZF/1J0Mh/C+P77749r166txoyR5zF48OA488vOPg03mV/T8ahRo+KaNWtmPWZ5j9tuuy1etmyZPbubNWvWxLfffnvW45X3yDQv8V133RVv2bLFnt3NokWL4mHDhmU95onGkCFD4vnz59ujuNm2bVt83333xTVq1Mh6zLJGr1694ilTptijuBs3blyc+eWf9ZhljTZt2sRjx461RyhMCxcujIcOHZr1+k809Gf0Z31s3bo1vvfee+Nq1aplPWZZo3fv3vHUqVPtUdxp7tu2bZv1mIzcjr59+8bTpk2zT6K4HDly5EH+B7sAACAoNC8AACAoNC8AACAoNC8AACAoNC8AACAoNC8AACAoNC8AACAoNC8AACAoNC8AACAoNC8AACAoRZltpAC9P/3pT9Ho0aOjr7/+2laT1apVK2rcuHFUv359W/lhU/CeQuOUh+Jj8ODB0R133GFC41zpOSmPR8MnJ0d/TmGEvsFvAwcOjG688UYTEuhK55g1a1Y0d+5cW3Gj3CZdozK3XCkx+Kc//am5Rp/1uHLlSjOHr776qq24GTJkiHlmPgGGes90rueee86EobpSfpLuS9krPv71r3+Z823cuNFWkikcVOe64YYbbMWNnpnWvs/+kdby5cvNfb3++uu24mbo0KHR7373u6ikpMRWkmkN63npfD4BqDqH5rFnz5624uaRRx6JxowZE61atcpWklWrVs2ETfpkehUzPSftH1qPPp/rvn37mvVx9dVX20rxyMxDcQYzpm1elHKr4DGfj24x27Bhg/kIzp4921bcpGle9IJqE9fwSbv97LPPotdee8076blNmzbmedeuXdtWktWoUcP8udNPP91W3CxatMjM46effmoryU466SST4KtrrF69uq0m00d3xYoV3kF4aZoXBfvpeel8Ps/s1FNPNfflkzou+gDqfD5hq0rk1rl8k3UXLlxontnSpUttJXf0zHRf69atsxU3aZoXNZl6Xjrf4cOHbTWZGgmtR99nlqZ50Q9IhXZedtlltvLDpu+Z9jitR5/3rNibF4IZjxndu3ePX3jhBXsULF68OB4+fHjWuTrRSBPMmNacOXPiQYMGZb2O8h6tW7eOMxuxPbM7haMpJC3bMQtlpAlmLGYKIVQYYba5KpSRJpgx39IEM2YaTRPCif+lcNa7777bhLVmm6+yBsGMAAAABYTmBQAABIXmBQAABIXmBQAABIXmBQAABIXmBQAABIXmBQAABIXmBQAABIXmBQAABIXmBQAABIXmBQAABIVgxmN0797dBFn5JtAq5GzJkiXmvIVIIX9nn322GQoXdPXxxx+beXzyySdtxU2aYEaF/GkONQ4ePGiryZSi/MYbb0QffvihreROgwYNon79+pnAMx+aR13jsmXLbCVZ2me2Y8cOM4c+QXhy4YUXmiC8Vq1a2Uoypf+WXmOlSpVsNZkScnWN69evt5XcUfCmru+ss86yFTcvv/yyWftvv/22reSOUsN1jW3btrUVNw0bNjRBiSeffLKtJFPIZ+kzq1ixoq3mTppgRoVoah8eMWKErbjRetK60voqVLo3zX29evVsJZnSpDWH+p75JIGTKh2gfDcvkydPjiZNmhStWbPGVgqLNqmbb77ZDCX6uspn87J7924zhxrffvutrSbbu3dv9OWXX5o/n2tVqlQxDYyGD61BXeM333xjK8kqV65skp6VHOxzPjXSmkN9fH3UqVPHnMenUapbt+7Ra1Qj40qJzRMnTsxLY3DaaaeZ67vxxhttxU0+mxc1Vno3fT8y7777bvT66697pVGrUdIz0/mqVq1qq7mTz+ZFz0rrSuurUF1zzTVmPSrp3BXNy/epeSFV+piRNlV6/PjxcYcOHbIesxBG5ldxfOedd8abNm2yV+wmn6nSO3bsiEeNGhXXrFkz6zF/aEMJsnfddZdJlPWxaNGieNiwYVmPWd4j88s/fuCBB+JMA2nP7mbWrFnxwIEDsx6zvEebNm1MsrGvfKZKl5SUxBMmTLBndqc/oz+b7ZhljUaNGsUPPvhgvG/fPnuU3MpnqvSUKVPiXr16ZT1moQy9m3pHfZAq/X2kSgMAgODQvAAAgKDQvAAAgKDQvAAAgKDQvAAAgKDQvAAAgKDQvAAAgKDQvAAAgKDQvAAAgKDQvAAAgKDQvKAgKIiwVq1aUdOmTU3YXK6Hsnx8wgRFGVGnnHJK1uOdaChPJh85MgiTgkh37doVbd682WsozFTrONuaK2s0btzYvGcVKlSwZwfCRDDjMdIGMz7++OPmfEuXLrWVwqKPtO5LQxuYq3wGM+7fvz/64IMPTKiaT/hYWu+//340d+7caNu2bbaSTEmwPXv2NOvEh9KkdS6fcDqFQJY+syZNmthqso8++sg8s3/84x+2kjtKNdZz/v3vf+8V6Dh79mxzjS+99JKt5E6bNm3MHI4cOdJW3OQzmLFRo0ZRly5dTNqwD4VhKiXapwlXArXOpeHbvKeRz2BGrSc9M62vQjVs2DBzb507d7aVZAQzfl+mbSGY8dhBMOPx8hnMKIcPH44zv0LzMh599NH4jDPOyHr9ZY1WrVrFmQ0k6/FONDKbatynT5+sxyxrEMxYPiOEYMYKFSrEFStWNO+pz7jlllviBQsWZF1zJxp6z/KFYMbjB8GM5YNgRhQU/VdHmU05L0Pn8v2rc/3zaa5R/3UTf02PsmT24ijTUESHDh3yGvpzadaj/gwQOlYxAAAICs0LAAAICs0LAAAICs0LAAAICs0LAAAICs0LAAAICs0LAAAICs0LAAAICs0LAAAICs0LAAAICsGMxyCY8Xj5DGZMS896/fr1XgGLMn369Ohf//pXtHHjRltJpkTeQYMGRQMHDrQVN6tXrzahkxs2bLCVZHpmOpeGAiFd5TOYUQnbpdfok5qtOdd8+IT1paVQS13ftddeaytu0gQz6v92v0WLFlHLli1NsGauKXjv+uuvj9q2bWsryRTsp3Wod+bIkSO2mkxrUPemME4fBDMej2DG8pFpW/5I83IMmpfjhdC8LFmyxGxa7733nq240Qa+du3a6JtvvrGVZEpObt26ddSqVStbcaOP2bnnnus19/oQ6lwaPo1BPpsXfaBLr1H5Ta6aNm0anXPOOebP5ZpSlPW8fJ9ZmuZF86EmSaNOnTq2mjtaT5pDNZGutDdOnTrVvDMHDx601WSdOnUyTbvvO03zcjyal/Kh5oVU6WMGqdLHy3eqdBpz5syJM7+ss15HoYzM5hG/+eab9opzK5+p0mmHkn+VAFzI0qRKV6tWLb7nnnvirVu32qMUHl3bvffea6412z2UNTQXmhNfpEofP0iVLh+kSgMAgODQvAAAgKDQvAAAgKDQvAAAgKDQvAAAgKDQvAAAgKDQvAAAgKDQvAAAgKDQvAAAgKDQvAAAgKDQvAAAgKAQzHiMtMGMCgVUgNsXX3xhK4VFIX+9evWKevfu7RXils9gxv3795tQQQ2f8LE1a9ZEs2bNihYvXmwrbjp27GjC0XwSm3fv3m2uz/dcZ599dnTppZdG7du3t5Xc2bx5s5mP+fPn24qbM844w8xHo0aNbCXZvn37zHwsWrQoOnTokK0m01rUe+abzp1PaYIZK1eubO5Nz7pWrVq2mjtnnnlmdN5553klPWuPKg350zvnSnuHntmAAQNsxU0+gxk/+eQT87yU4l6ozj//fLM+fEJaCWb8vkzbQqr0sdI2L3v27DHn8VlY+VShQoWodu3apnHxSf/NZ/OiZ/bEE0+Y8e2339pqMm3Amvu9e/faihtd489//vOoTZs2tpJs48aN5vp8E5uVRq35r169uq3kjtagmiyftGxREvLw4cNN2rOrnTt3mrWhOVEj46pYm5e071la1113nVnDao5dFXPzon1Da9/nvvKtZs2aZn0ogdwVzcv3qXkhVfqYkTZVuljlM1V6x44d8ahRo+LMy531mOU9brvttnjZsmX27G7WrFkT33777VmPF/oYMmRIPH/+fHunbrZt2xbfd999caY5y3rMsoaSf4sxVTrfY+jQofHChQvtFbsp5lTpYkWq9PeRKg0AAIJD8wIAAIJC8wIAAIJC8wIAAIJC8wIAAIJC8wIAAIJC8wIAAIJC8wIAAIJC8wIAAIJC8wIAAIJCttExSkpKomHDhkX9+vWzlR+25cuXRxMmTIj+9a9/2YqbNNlGyskpfWY+uTzKC1K4om8Qnp6xclp8AtK2bdtmMm+mT59uK250P7o/n8wm5eTUrVvX3FulSpVsNZlyXXbt2mUyXnwMGTLEPLNu3brZSrLt27cfzVzxube02UZ6rzWPPvkuypDRPGr4SJttpOelc/k+M92Xz14lQ4cONfOofctVCNlGLVu2NPuw9hH873umfViZagcPHrTVZAQzBiht89K4cWMTTHf66afbyg/bjh07TDijmhgf+Wxe2rZta15SJSL70L1pUzhw4ICtJNOHUAm+DRo0sBU3SrudOXNm9Nlnn9lKMn38+vTpY+5NYX+uNm3aFL311lvRvHnzbMVNCM3L7NmzzTyqiXSlZ6U5VJKvj7Sp0qXPzKeZVuCnntn7779vK26KtXlRcKH2YZ/AyWKm0FntIdqLjxw5YqvJir15IZiRUe4jn8GMPXv2jCdPnmyP4u6xxx6LzzzzzKzHLGu0bt06zmzE9gjuFI6W2UiyHrOsoRC2u+66y4Sy+Vi0aFGc+dWa9ZgnGiEEMyqsr3379lmPWdZo06aNCQf0lSaYUWGH99xzjwk/9KFwRYUsZjvmiUaxBjMyymdozyGYEQAAoEDQvAAAgKDQvAAAgKDQvAAAgKDQvAAAgKDQvAAAgKDQvAAAgKDQvAAAgKDQvAAAgKDQvAAAgKDQvAAAgKAUZTCjgqxeeeWVaNq0adG+fftsFfnSo0cPEwbWrl07W0mmMEY9Lz03n8C4s846y5zrwgsvtBU3f/3rX03wnk9Y4qmnnhpdc801Uf/+/W3FzebNm815tm7daivJFMyo+9LwSURet26dmcdZs2bZipuePXuacyno0lW+gxlff/11sz4+//xzW0nWqFEj88yuvPJKW3GzYMECc65PP/3UVpIpmLH0mdWpU8dWk61Zs8acS8GTPlq3bh2deeaZJsnald4trUWNw4cP22qyjh07mvvyCe6U1157zdybz9pH+ejUqZNZ+126dLGV4pFpW4ozVfrQoUPmg6Gh/4z80ke+WbNmXsm6ek5KRNYz89lUlUCrc/kmPadpXqpVq2bOpeHjjDPOiC6++GKvtPKTTjrp6LmUZu1KTaDmUOnBPtI8s3w3L1u2bDH35vODpHr16ua+mjZtaitulDqucymh3lW+n9lHH30U/ec///Fq5mrWrBlddNFFZj2qQXalZkz3Vb9+fVtxk+aZoXzomZ122mlezW0oirZ5AZKkaV7S0i9WfawVUV9M8t284HgTJ040a/jDDz+0lWT6m6g77rgj+v3vf2+acSBEal7437wAAICg0LwAAICg0LwAAICg0LwAAICg0LwAAICg0LwAAICg0LwAAICg0LwAAICg0LwAAICg0LwAAICgFGU8gG7p4MGDJi/H5/YqVqxo8j58Mj9E59H5jhw5YivJKlSoYILcNAqV7qd0HnOtdD409/rPufbEE09EjzzySLRixQpbSVa6rjR8XHHFFdHIkSOjSy+91FbclK6PfMxHmjX85ZdfRuPGjTMjH/EApWvR5xrzLZ/PLE08gDKsfvvb35rhEw+gvVH3pX/PNT3f0vXoI9/XWLoefWh/0zUqB8tV2n0nn/ORb5k5Kc5sIyWnzp8/34wDBw7YarLmzZtH559/vklq9aGANJ1LWS+uFCioc2kUqm3btpn7Wrx4sa3kjgL0SufDJ9QuLaUGv/vuu+YD7EohfZoP/VkfCmbs3r27VzCjNpzS+VCYXq4pPVn3pSA9V2pYFAyoefTZWNM2LwsXLjTXqNDEQqQPU+kzO/nkk201d9I0L1pLCmX0DWZs1aqVuS+fpPi0du7cad4zPW8fes90jS1atLCV3FEYpq7RJ3VczjnnHHONyphypeBOnUvDJ7RWqeM6l09SfCiKtnnZvXu3Cd577LHHoj179thqMj3oX//61yZG3Ic2EZ3L51e80j51rttuu81WCs/SpUvNff3zn/+0ldxRAqrmQyMfG78aXCXd+mwGGzZsMPPx+OOP24obNWNqzvQryJX+Wa0NzYfPRpfWiy++GI0fPz5atGiRrSTTr8/SefTZRtI2L08++aR5r1evXm0rhaVq1apHn1nDhg1tNXfSNC/6xa+1qL918fnboR49eph7098i5tqaNWvMe6bn7ePKK680c6/GLNf0g1XXOHnyZFtx89Of/tRcY8eOHW0lmdLGS79nPj8Sevbsac7Vr18/Wykeal70L0Vn165d8f333x/Xrl1bO6rzyPw6jl944QV7FHeZTT/u0KFD1mOWNVq2bBmPHj3aHqEwLV68OB4+fHjW6y/vUa9evfgPf/hDnGk27dkLT2ZTjW+//fas11/eI9PwxHfddVe8ZcsWe/bcmjRpUtytW7es11LeI9O8xFOmTLFndjdu3Li4ffv2WY9ZCCPTEMT33HNPvHXrVnvFuTVhwoS4pKQk67WU9+jdu3c8depUe+bcyvwIjEeMGJH1Ok40Ms1wPGvWLHuU3FqwYEE8ZMiQrNdxojFs2LA48wPBHsWN9oC7777b7AnZjlnW6Nu3bzxt2jR7lOKS+eH0IP+DXQAAEBSaFwAAEBSaFwAAEBSaFwAAEBSaFwAAEBSaFwAAEBSaFwAAEBSaFwAAEBSaFwAAEBSaFwAAEJSizDZSnpHyeDT27t1rq8kUmnXTTTdFffr0sRU3yrpRxoiygFw1btzYnOvGG2+0ldxRhonycTR8Qg9XrVoVPfPMM9Err7xiK7lTo0YNM+8ayohxVatWLXNfdevWtZXcUWih1tRzzz1nK24U6Kh8kq+//tpWkuk5Kf9Ho0mTJraaTGGJOpdP4KS8/vrr0bPPPuu1htMqKSmJBg8ebDKOfMyZMyd6++23TWCoKwWzbt261evPpKW8oNJnlo88qjTZRmn17t3b3NeAAQNsxY3mXetRGViuFHA7c+ZM87x9aD1pXWl9uVI+l65Pwyc3SDlnukbfkNarrrrKXGP79u1tJZlCIMeMGRONHj06+u6772w1Wd++fc0zu/rqq22leGTaluIMZtQD/uyzz8zwWZAKU1OitG8qaZrmReGDOpdGrimMTYFqCi7z+cjro6s5zEcQnp7TunXrorVr13qFJSpJVvfWrVs3W8kdpbtqPpYvX24rbhTi9tprr0VLliyxlWRpm5f169ebRmTu3Lm24kbzrvvKR2Lzqaeeata9Utx96L1UurFPcKc+npr7f//737aSOzQv36d513pUc+BKP2SUiOy7D2s9aV1pfbnSt0LrQ9foE+J7yimnmLXYtGlTW3GjZHldo88+TPPyfWpeijKYMd/SBDPmc1SqVCm+8847402bNtkrLjyZj2Y8atSouGbNmlnvoazRs2fPePLkyfYohUnhaApJy3b9ZY20wYwKfVP4W7Zjhj4U1pdpsOydulm1alU8cuTIrMcr70Ew4/eNHTs2btu2bdZjljXatWtnQjjzYe/evfEDDzwQZ364Zr2WskbXrl1NmGk+EMz4fQQzAgCA4NC8AACAoNC8AACAoNC8AACAoNC8AACAoNC8AACAoNC8AACAoNC8AACAoNC8AACAoNC8AACAoNC8AACAoBRlMGNaCnFbtmyZCbfzMXv2bBPspdRhVwqX69ChQ3TWWWfZipvNmzeba/Q5V6VKlY4GxjVr1sxWk+3atcucS+nSPhSqpvtq0KCBrSRT+rfmcMaMGSYJ2FWdOnVMgJtCNXOtZs2a5pn5hmkqmFH35RPcqSRw3ZeGTxK40m51rnfeecdWckdBhHrOGlpjrhTSp7nYuHGjrbhR0Fy/fv1MIrsrvdOajzfffNNW3CjkT/flcy4FoOrP+T6z+vXrm3MptM9HmmDG0memdVyxYkVbTaY/c/nll0fnnXeerbjRvGv+fVK9FWqpc+l555pS2BV4qOBDpVm70h6na7zoootsxU2bNm3MXNarV89WkhHM+H2ZtqU4U6XT0kfm6aefjt566y1bcaMkXr2cPrHvSgoeMmRIdNNNN9mKm3fffddc47x582wlWdrmZeXKleZcL7/8sq240Uute+vYsaOtJFOStOZQQzH1rnSNb7zxRl6SdZUgq/tSpL2Pr7/+2tyXT2qt5kOJvLq33bt322qyffv2mXPt3LnTVnJHybhav5oTfRRdLVy40KyrWbNm2YobNcNKDK5ataqtJFMjrI+Sz4dJevXqZe6ra9eutpJMyeh6Zhp65q7UDOtcV111la24SdO8qFEqfWY+DVatWrXMDwSlKfsonXufHyR6vnrOPj9+0krbvCj5WvPh04SIGgnNvdLwXdG8fJ+aF1Klj5H5tRrfcMMNxyVz5mq0bNkyzixGe2Z306dPjzO/PrMes6yRNlV68eLF8fDhw7Me80Qj83GPM82VPUpuzZkzJx40aFDW6yjvkfm1FWc2EXvm3Mps9vFDDz0UZ5rcrNdSCENJvErkVTKvj0zTEg8cODDrMQtlDBgwIJ45c6a9YjeZxjH+4x//GDdq1CjrMcsaSoZWQrSvNKnSurYHH3zQXCvSp0qnHUp8V/K7D1Klv49UaQAAEByaFwAAEBSaFwAAEBSaFwAAEBSaFwAAEBSaFwAAEBSaFwAAEBSaFwAAEBSaFwAAEBSaFwAAEBSyjY6h3CBlhbz44ou2kjunnXZa9Ktf/Sq69dZbbcWNAveeeeaZ6L333rOVZApgU56GhjJDXCk3aNKkSd7ZRgMHDjT3VVJSYivJlGeknBEFNPosyffffz8aP3589Oqrr9pK7iiMTVkht99+u63kjnJydF8ayipypT+neVTGkQ9lEykstHLlyraSTDk5es5ax9WrV7fVZFq7ui8FcfrQfWkcOnTIVpJp7eu+lEXjozTbqFu3braSTLkzymzSUN6Zq06dOpk5vOGGG2zFjfYpzeMnn3xiK8lKs41uvvlmr2wj/bOaR59cKSl9p5XVVYj0nmgOH3/8ca9npvdEa8pn3cs111zjnW2k9790L9D77Ypgxh+QfDYvtWvXNhujz+YoClnUBuKT4isKRtPwedxKydW5fDY5UWKtAu0UZOhKm5zmX82ZT/iYkokXLFgQrVixwlZyJ5/Nizb7Dz74wNzbN998Y6vJFOKmOfQNquzcuXPUvXt301S70uat9atn7dP0pH1mCiPVGvnyyy9tJZk+1rov3/RfNUh6X3waJdH7oqFUcFdKrtY8nn322bbiZsmSJWYet27daivJ9P6X7gU+lHjdo0cPk4jsQ42qnplPY5BPagY0h3rXtAe50nuidaX3xofOp7n3aeb0/pfuBT5/jublBySfzYs2N/0q9Imll379+kW/+c1voj59+thKMm3Af/nLX6Jx48aZj5srbaa//e1vzS8FH2p6dF/6d1e7du2K/vznP0djx471+ljrb2z0QvskUaeVz+ZFdF8aPq/oxx9/bOZRf2Pm48Ybb4z+53/+J+rSpYutJEu7htM+s7/+9a/RI488Yv5G0JU+urovvTM+XnvtNfO+zJ0711aS6W+vdJ4RI0Z4/Q1n2nlMsz70K157waOPPuqVgq+/idI8+n4IdS49s9WrV9tK4Ukzj/pbZe0Dem98/POf/zTryudvy3Rdpdfoo9ibF/43L/8lWpClv+58hhawNrnSX3iuQ0q7fteh69PGmu14Jxr6Fe7TuEjpC5rtOk40dE/5aFz+G/Sc9bde2ea4rKG59/0Iiv6M/my2Y5Y1dG1pzqW14XsuDf1to8/faIj++dK/rfQZusY061F8n1naeUyzPvTPS7ZrP9FI+55pDvU3qdmOWShD+5xP4yJaH2nWldaj776v+fNtXH4IaF4AAEBQaF4AAEBQaF4AAEBQaF4AAEBQaF4AAEBQaF4AAEBQaF4AAEBQaF4AAEBQaF4AAEBQaF4AAEBQyDY6xqeffhpNnjw5mjNnjq0UnvPPPz+6/vrrTRieK/3fUSuzSWPz5s22mky5MEq6vfzyy23FTaNGjaLmzZub8ElXO3fuNNc3evRor2yjOnXqmHM1bNjQVnJHAXqaj+uuu85Wckf/V+ybNm0yIYb6vwh3pQwZZXO98cYbtuJGOShaVz5pt2mlfWZKN9f7qXlxVbduXfPO+LwvokBBzeNHH31kK8mUbaQsGQ29A7mmQEatjz179thKMiU8z58/3wztC64UQKj1cfHFF9uKG+UajRkzJlq1apWt5I7Wk9aV1leutW/f3uwFem986L3UuspH1tN5551nrvHCCy+0leKRaVsIZjyWPqBr1qyJtmzZYiuFR5uimgqfjT9t86LmQ+dq0aKFrbjp2bNnNGDAAPOCu0rbvCjB+tprr83LC6oU5TZt2piAxlzTM9PHWkOhla52795t1rA+aj6UkqtnnY+NX4GfemYXXHCBrbhZt26duTef9aEPu36ULF261FbcqDHQuXwSrPPdvMyaNSuaOnWquU5X1atXN/PfsWNHrzylBg0amPWhBt5HPpsXrSetK9907jT0nmg+fFLYRe+lnpfe01zTN0LXmI+1mG9qXvQvKHIHDx6MH3744bhZs2ZqVHM+Bg8eHM+bN8+e3c2OHTviUaNGxTVr1sx6zLJGplGKM7/G7VGKx4EDB+KHHnoobtKkSdb7Dnn06tUrnjJlir3T3Mp8NOORI0dmvY7yHpnmJb7nnnviTONjz55bEyZMiEtKSrJeS1kj8yGLH3zwwXjfvn32KLk1duzYuG3btlmvpbzHwIED40xDZ8+MYnbkyJEH+d+8AACAoNC8AACAoNC8AACAoNC8AACAoNC8AACAoNC8AACAoNC8AACAoNC8AACAoNC8AACAoNC8AACAoNC8AACAoBDMeIzPP/88Wrx4sXfip8IBlbqqBNtcW79+ffTxxx9HGzZssJVkSih+++23zfjqq69sNVn9+vWjc889NzrrrLNsxU2XLl2i3r17R61atbKVZGmDGRUCqSC8QYMG2UrufP3112Z9aP59aB40jz4hbt99993RME2ty1xTiKau8dRTT7WVZPv27TPzoeGTUNyuXTuzPs455xxbcdOpUyfzZ3zCIxWsOHPmTO+k+LVr15r78gkyrVy5srkvjVq1atlqMgXoae59E70nTpxo1seHH35oK8l0Xbq+Pn36RJUqVbLV3NG8a9/Zvn27rSQ75ZRTzHzoefvQ2tC9aX3l2rZt28z6WLFiha0UHu03mkeffTgUmbaFVOljLVy4MHrqqaei119/3Vbc/OQnP4mGDx8etW3b1lZyZ/bs2eYa33nnHVtJpkesFFM1Lj4fGW2mui9F4fvQBqkNSCm7rkJoXjZt2hQ9+eST0YQJE2zFjTZUzeNFF11kK8ny3bwoBfxnP/uZ1wdDz0xrUUONjCslG6sBOfnkk23FzZAhQ6Jhw4Z5pXofPHjQrHvfFN+33nrL3Ne8efNsJVmFChXMfWn4JDYrBVlzP3DgQFtxk6Z50XWVXqOuN9dK9x09B1f62Go+9Lx9aD3pvrS+cu2TTz4x60Op74VK+432He0/xUbNC6nSx8g0BPENN9xwXFKpy7j11lvjJUuW2KPk1vTp0+N+/fplvY7yHplfMvETTzxhz5xbIaRKr1mzJr799tuzXseJxtVXXx2/+eab9ihu8p0qnflQxPPnz7dnd5P59Rnfd999cY0aNbIes7zHiBEj4uXLl9uz59bUqVPjzKaf9TrKeygZWgnRvtKkSocw2rVrF48bN87eZWFasGCBeWeyXX+hjL59+8bTpk2zV1xcSJUGAADBoXkBAABBoXkBAABBoXkBAABBoXkBAABBoXkBAABBoXkBAABBoXkBAABBoXkBAABBoXkBAABBIdvoGMoIUXbNjBkzbMXN5ZdfbnJJWrRoYSvJFOJWmjHi49VXX43GjBkTvfHGG7aS7NjMFZ8wNmWM6L4uu+wyW3GjbCOdyyfbSBkomnvlhXz77be2mqxr164mB6Vfv362kjsK61OWzJ///GdbcaNsEV2jT7aRsmD+8Y9/mDnxCbVLS9lGyg3yzTbSNfpmG6U1YsSI6I477jAhkq5Ks418Aknl/fffj1566SWvEE5tpTrPrl27osOHD9tqspKSEpPPNXToUFtx83/JNlKIbD6yjdJo2rSp2XeuuuoqW8mdk0466eje6JNH9cEHH5i5f/rpp23FTe3atc25qlataivJlEdXuoZ9Ptd9+/Y16+rqq6+2leKRmQeCGY+VNlVai2rHjh0mTM9VvXr1zEfNNzQrTfOiF1TnUZKsAhNdHThwwNyXb6hdmlRpneujjz4y8+8T4qaNTsmpp59+uq3kTtrmJU2qtD5+mgsNn2YurXymSqeVpnlJmypds2ZNk6peo0YNW0mmOVCCss63Z88eW02Wz+Yl36nSaWgfVWOsJjDX9CNSc6E50TN3lbZ5ueCCC8z5mjVrZivJlGZfuq58muJib14IZiwH48ePjzt06HA0EMtltGzZMh49erQ9grs0wYyZTSq+8847402bNtmjuMl8lOLhw4dnPeaJxuDBg+N58+bZoxSPtMGMjPIZaYIZV61aFY8cOTLr8U40BgwYEGc+FvYobjLNXPzHP/4xbtSoUdZjljXyGcyoa3vwwQfNtRaqFStWmGed7frLeyhUVOGiChn1kTaYcdiwYfGiRYvsUdxs2bIlvvvuu+MqVapkPWZZg2BGAACAAkLzAgAAgkLzAgAAgkLzAgAAgkLzAgAAgkLzAgAAgkLzAgAAgkLzAgAAgkLzAgAAgkLzAgAAgkLzAgAAglKUwYwK9luzZo0ZPiF/Ckts06ZN1KRJE1tx8/jjj5uQrqVLl9pKsoYNG0bXXnttdM0119iKm4ULF0Yvv/yyCTF0pQA2BXRp+ASCrVu3zpzrrbfeshU3Ckns2LGjuUdXVapUMX9OwycwTsGRes4K1cw1he19+umnXs85rSNHjhxdw/v377fV4qDAQz1n3/fsrLPOMutKybyutm7datbw9OnTbcWNUrb1vvgEpypQcNq0aeZ8PinWmgvtBZdeeqmtuEkTzKhEY92bhkIJC5GCCPWeLVu2zFbcaA/Q+6I9wZXSnUvnw2ddKfBT1+gb4qv1pGfdunVrW0mmgEqtKQ2fANRzzjnH3Fe3bt1spXhk2pbiTJX+5ptvohdffNEMn0RebYw33HBDdMkll9iKmzTNS7Vq1UzKcPPmzW3FjV7MTZs2mdRVV2mbF82jzuXbGCxZsiR6//33o82bN9tKMqXdau41qlevbqvJPvnkE/Oc586dayu5o41fqbDnn3++reSONqnJkyebe/PZjEOg9Go95+7du9uKGyX5al35rH0lX2/cuNFrLYo2fd/mRQ2n3hedzydhXmtfe0Hjxo1txU2a5kU/Ekr3HaXNFyL9iNR71rVrV1tx8+6775r3RSnnripWrGjmQ0Nz40qN94UXXmi+GT70jDX3PgnWWktaU1pbWmOu6tata86lHwvFRs1LUaZKZzrV+P77748znfRxKZtJI7OZxi+88II9irs0qdL5HGlTpdN65pln4szmk/VayhqZDSv+wx/+EO/Zs8cexc2cOXPiQYMGZT1meY/Mr6V4zJgx9sy5deDAgfihhx6KM5tk1msJefTq1SueMmWKvVN348aNi9u3b5/1mOU9Ms2Ld6p0vqVJlQ5htGvXzjxrX1pTWlvZjlneI9NYxZMmTbJnRr6RKg0AAIJD8wIAAIJC8wIAAIJC8wIAAIJC8wIAAIJC8wIAAIJC8wIAAIJC8wIAAIJC8wIAAIJC8wIAAIJC83IM5UYoyFFBeD4jjmMTcqa8ItehQDDlavhSHokyOLId80RD+UYVKlSwR3Gj+0ozH5pHnS/bdZQ1NB9y4MCBrMcsaygDSPOY7ZjlPXSNPqGRKF+aez2DbM+mvIfWlNZWtjV3oqE/o/cmH3SNafaCfA7ti2n2nTRzf/jwYe99RyPN3piWrlFZRdmuv6yhPVHzgeMVZTCjEl0VWDZ69GiTUOqqZcuWUY8ePbzDtrQYtcB8QrN2794dLViwwITN+VDqtQLLfFJJ1fAoBE/35pOcun37dnONH3/8sa24UcOj+dCL6kqbhz5MpU2MK51D5/JJD09LQWeaw4svvthWckdrSmtYIx+J2fnUq1cvE3o4cOBAW3Ezb948E76nRN9cK22UfJpV/bN6N5Xie/LJJ9tq7ixatCh65513oi1btthK4VEKvvY4JSO7atCggdmvFHzoI82+oz9Tug/7hPjqOWsNDxkyxFbcKIla5/viiy9sJZlCHEvXVZofvMUo07YUZ6p02uZFvxJq1KhhunEfgwYNioYOHWqi7V0pIXT8+PFm+Ojbt2/0q1/9ynwAfOi+tKH6JMkqJVvX9+yzz9qKmyuvvNK81J06dbKVZGrmJk2aZIbPJlJSUhLdfPPNZl5yTRuH5lEj12hevk8J0Xv37vX6OKU1a9Yssxb1oXGlZkfvpkbDhg1tNXf0q1zvSj4a97SeeOIJk7q/du1aW0mW9j1TArj24S5duthKMq2p0n3YJ709bfPy/PPPR3/9619N8r6rRo0aRbfeemt02223mW8U/rd50b8UnbSp0mlHZmHFmcVoz+5m3bp1cWbxZz3eiUb//v3jGTNm2KPk1uLFi+Phw4dnvY4TjcGDB8eZX8n2KG4yG0c8atSoOPMrI+sxyxo9e/aMJ0+ebI9SPDK/IEmV/i+aOnVqnPkYZr3+skbmR098zz33xFu3brVHwdixY+O2bdtmna/yHplmOM40nfbMbjLNcPzAAw/EmWYz6zHLGpnmJVWq9FNPPRV37tw56zHLGtoD/t//+39mT8D/IlUaAAAEh+YFAAAEheYFAAAEheYFAAAEheYFAAAEheYFAAAEheYFAAAEheYFAAAEheYFAAAEheYFAAAEhWyjYyj759RTTzUBfD6uu+666KabbvLKNlJezTPPPGOGD+UF/ehHP4o6dOhgK8kUeqj70vDJxli5cqW5vpdfftlW3Fx++eVmPnwCLvWcnn76aTOUN+LqvPPOM+fq06ePrRQH5dWUrg+fIEJl3Wzbti3auXOnrRSetNlGCgrVUKZPrs2ZM8esRZ/gVGWi6b40lEeTa3rGetY+WWBp1apVy+wfp5xyiq24eeSRR6IxY8ZEq1atspVkyojSuXzzoS699FKTNaS8M1eaO30ndI1aW67SZhu98sorZl2tWLHCVpJpzrXnX3bZZV7BjGmfWQgybQvBjMdq166d+fAqvdOH/pyaCZ9FooA5BR8uW7bMVtwoPGzDhg1eHyeFMeq+NHwaMyXB6vp8Nh5R4vVZZ51l0mFdKQ1W59LwCZrTR0LnatGiha0UByWUl86Hz8dJa2PGjBkmbbhQpW1e3nrrreiNN96Itm7daiu5s3HjRjP3PufKd/OihG096/Xr19tK7ugd0/6hHws+0jQvmrsrrrjC+weJ9gBdp8/c57t5Wb16tVlXPvu3Qlr1Xmv4fK71TdIz69y5s60UDzUvBDMeM7p37x6/8MIL9iiFafr06XG/fv2yXn9Zo1KlSvGdd94Zb9q0yR4FxWrRokXxsGHDsq6DQhlpgxnHjRsXt2/fPusxC2HkO5hxwoQJcUlJSdZrKe+hkEqFVfpKE8yY+TFonnU+5DuYMY0tW7bEd999d1ylSpWs11LW6Nu3bzxt2jR7lOJCMCMAAAgOzQsAAAgKzQsAAAgKzQsAAAgKzQsAAAgKzQsAAAgKzQsAAAgKzQsAAAgKzQsAAAgKzQsAAAgKzQsAAAhKUQYzKmzrtddei15//XWvhOL27dubQLDzzz/fVnJHwYyfffaZGT4UHrZu3TqvpGEFM+q+rrzySq9gRgVc6voUJpZrSpI988wzzahUqZKtFofNmzebefQJ+dMzK52P6tWr22oyhfRp3c+dO9dW3KxduzZavny5Cf7MNd2T1mKXLl1sxY2C6bT29e642rNnj5l7nxTftJTYXvqe1a5d21aT1atXz8yJAk19TJw40QTQfvjhh7aSTOGRpevKJ6FY16jrU0qxj3//+99mPX7xxRe2kqxx48ZmHpWk7KN58+bmvnyuMW0wo+ZCz/niiy+2ldzRPqw51Dh06JCtJuvbt68Jj7z66qttpXhk2pbiTJU+fPiweVk09J9d1axZ0ySS+nzg0/r888+jf/7zn2b46Nixo0lbVXqqqwoVKpj70tAG62rlypXm+qZNm2YruaPN/qabbooGDx4c1ahRw1aLgxKen3nmmWjBggW2kkzP6cYbbzRz4pPOrc1Y6963CdHGqGetpPNcU1S/1mKdOnVsxc0ll1xiNmSfj9OmTZvMfT3//PO2kjtqOHVtvu/ZGWecYZ5z//79bcVNmuZFTYjeMZ2vSpUqtppMzZ9SvT/++GNbcbNt2zazHpUa70o/ZDSHvo2S0sp1XyUlJbaSLG3zcvLJJ5vrq1+/vq3kjlL2S79nPp/rYm9eijJVOgSZX5BxZmEdTQB1HZkNLp4xY4Y9Sm4tXrw4Hj58eNbrKO+R2VTjP/zhD3Hml7I9e/FQsqsSXrPdd1lDCbJ33XWXSZTNByXkduvWLeu1FMoYMWJEvHz5cnvFblatWhWPHDky6/EKZSgZWgnRvtKkSmeagvjBBx+M9+3bZ4/iZubMmfGAAQOyHrNQxsCBA+NZs2bZK3aTNlU6hEGqNAAAQAGheQEAAEGheQEAAEGheQEAAEGheQEAAEGheQEAAEGheQEAAEGheQEAAEGheQEAAEGheQEAAEEpymyjtJQhoSBHnxwOUdiZ8nh8gs6UufLYY49F48ePtxU3Civ71a9+FV166aW24kb3pRyPI0eO2Eoy5ZlMmDAhmjJliq3kjnJufv3rX0e33XabyQ0pRMrJ0jz6hH3K7NmzzTzOmzfPVpIpG2fo0KHRLbfcEjVs2NBWc2fy5MnRX//61+ijjz6yldzRvSlsUhk2PpT1pDlp1aqVrSTbuHGjmXtlS/n47rvvzPuiPcGVMsR0XxrKOXLVoUMH85yvueYaW3HzwgsvmGfmkzektaT9Q++az/zPnz/fzOPbb79tK4VHWT6ax65du9pKMr3LmkMNnzwwhcfqOWvv97F//35zTp+ARa2l0nWlNeaqZ8+e5jlfdtlltlI8Mm1LcQYzpqVE3v/85z/RkiVLbMWNXhali/oEie3evdtsCBo+2rZtG3Xr1i06/fTTbSWZGhbd17vvvmtSdl3pRdGHxqcpS0svptK8NXwC4/Jp165dZg59mhDR5qN59PmgiTY4n4/n/8Wnn35q1qICQ3NNibx6X3zCRUXzoeGzZWkN60Pjm1SuJGq9M2vWrLGVZDqH7qt79+5eDbjuR8/ZJ0RWPvnkE/PMfNLKdV2l75nPnGjt6p/Px16QluZP68PnB5rmvXQfVrPqqlmzZuZZn3vuubbiZtGiRWZd+bxnCjLVuTR85l/vmZ6zvhnFhubl/0cfpbFjx0YvvfSSrbgZPnx4NHLkSBPH7qp0w/LpwEWL13cT0TnGjRsXPfLII9GWLVtsNZl+EapzVwptrpV+ZHzSePNt3bp1Zg7/8pe/2Iqbfv36mXnULyFXWhv6Nai/nVOabK6VNgY+G39aPXr0MO+L7980PPnkk2ZOVq9ebSvJ9Lc0mvtf/OIXtuJm+vTp5lnPmTPHVpLpV/hvf/tbc28+P2T0Nyd6zvqbFB9pnlna90zPTH8resUVV9hK4XnttdfMPKo58FG6D/t8CpVcref805/+1FbcPP3002Zd+fxtWePGjY+uK58fdmm+FaFQ88L/5uUY6txL/7rYZ+jP+G762kS0EPVfN/kM/VVvmsWoF7T0vzpyHbov/eLKdh3lPfQ3L4XcuEhpw5ltrk40tDFqE8l232UNzYfor5mzHbO8R5o1nJbWr9Zxtvs+0dA7o/9KN9v1lzX0z+vPZTveiUba90xrWM8u2zHLGtoHNPfZrv9EI80zS7uG9Wd813C+h55X2nvzaVxE+2Ka/Vt/xvdvYLV+ta6yHe9EI+0aDgXNCwAACArNCwAACArNCwAACArNCwAACArNCwAACArNCwAACArNCwAACArNCwAACArNCwAACArNCwAACArZRsdQ6N6f/vSn6MUXX7QVN1dffXX0k5/8JGrZsqWt5E69evVMKFjdunVtJZn+7+l1XxqbN2+21WRt2rSJfvzjH0dXXnmlrfywKUxN+TNKYPZx0UUXmfWhPBRXiqp47733TE6LT5hmPun/Vl3rSQnpPv839Z07dzbrSnk5PhSep/nwSf/V+6JAuwsuuMBW3Ggv0LNWkJ4rZRv97ne/M6NRo0a2mkzp7TrXG2+8YSu5o0gBPTMNn2fWu3dvc18DBgywFTfKUtO5fJLYFa+gPa5p06a24uadd96Jnn/++Wjx4sW2kjtnnHGGWcO+ic2vv/66edarVq2ylWQKZtQe4hvMqKT+0047zbwDxSbTthDMeKy0zYvC3/Shr127tq3kjj6Aapb0AXCVtnnR/SiRNB9NWQj27t1rQgF9ggFFwWqax4YNG9pKMuWfKHVZozTnqNB8/fXX0SuvvBJNmzbNZAi5atCggXlffD9O7du3N/Ph855988030dKlS6Ply5fbihs1qvrAfPnll7aSLG3z8tVXX5k1tWHDBlvJHaXZ63lpqPl0lbZ5efXVV80a8Um+btKkiQnt9A2BTPPM0tKPR63h5s2b24obPWNdo56DKzV+y5YtM8On4ezUqZOZx65du9pK8VDzon+Blenc4xtuuEHNXMGO/v37xzNmzLBX7CazScUPP/xwnPk1k/WYjMIbVapUie+6664488vVPsXCs23btvi+++6La9SokfUeynuMGDEizjQh9uxuMh+KeOTIkVmPV94j07zE99xzT5z5UNuzFx5d27333muuNds9lDUyzUs8depUexR3Y8eOjTONe9ZjljXatWsXjxs3zh4B2gPuvvtusydkm6+yRt++feNMk2qPUlwyTdyD/G9eAABAUGheAABAUGheAABAUGheAABAUGheAABAUGheAABAUGheAABAUGheAABAUGheAABAUGheAABAUGheAABAUIoymFHJqR9//LEZ+s+uFLy3fft2r9CsfFPCqAL+9O+uFOY1c+bM6K233jIhcK7q169vwr3OPPNMW3Gj4DHN/bZt22wlWdWqVaNzzjnHjMqVK9tqYVEQ4SeffGJGrlWpUuVoyJ+C6lwpcVlz7xtE2K5dOzP3PuGRelfGjBkTjR49Ovr2229tNZnuR+dq3bq1rbjRetT1aa240vuv6/QN61u3bp2ZR6Uiu9K67dOnT9S3b1+v9zOfFNKq+dDw2foViqn70nPz8cgjj5g1oj3B1amnnmrOdckll9iKG60nXZ/P+6L50HPWO+2TfJ2W0qh1jVrLrhQ4Wfqe+XzPNIfaPxTkW2wya7c4U6X1kfnHP/5hhlJlXSmxVqmpih4vVAsXLoxefvnl6KOPPrKVZHrEu3btMkMvqyu9aMOGDYsGDRpkK26mT59u5l6bgqtTTjkl+tnPfmbOV6NGDVstLJs2bTL3NXHiRFvJnbTNi5JndY0vvfSSrbhR+uwtt9ximlVXaZuXbt26mWetzdXHa6+9Zta+T0OhRG+901dddZWtuFGzr3l8//33bSVZhQoVTNqwRqVKlWy1sNSpU8c862uvvdbrR4LeSd1XzZo1bcVNmuZFa1/n0rX60HrSutL6crV///7oqaeeiiZMmBDt3LnTVnNn4MCBZo/Tt8YVzcv3qXkpylTpzEc6vv/+++PatWsfTdh0Gd27d49feOEFe5TClGkM4n79+mW9/vIemV8I8RNPPGHP7O6ZZ56JL7jggqzHLGvUq1cv/sMf/hDv2bPHHqXwrFmzJr799tuzXn95j7Sp0osWLYozm2PWY55oDBkyJJ4/f749ipu0qdK9evWKp0yZYo/iTknD7du3z3rMskabNm1MsrEvJSgrSTnbMUMejRo1ih988MF437599k5zK02qdNqRaQziWbNm2TO72bt3b/zAAw/EDRs2zHrM8h56N/WO+iBV+vtIlQYAAMGheQEAAEGheQEAAEGheQEAAEGheQEAAEGheQEAAEGheQEAAEGheQEAAEGheQEAAEGheQEAAEEp2myjJ598MnriiSe8so26dOkSDR8+PLryyittxc2ePXtMmKNP7oSyT5Tno+Fj1qxZ5t7eeecdW0mmR6w50TX6ZBspkFHzccMNN9iKm7fffjv617/+FX322We2kkzz8POf/9wMn2wjZZPovhSqmWtbt26NJk+e7J0blIZyZzT3Ggqqc6VsI617zb8PBQoqw0p5Vq407zqP5uTAgQO2muz88883z/myyy6zFTePPvqoyXhZsWKFrSRr0aKFOdfQoUNtxc17771n7mvx4sW2Uni0t+kZ+Mx9gwYNjq4rn4DLtJQDpv1q/fr1tpJMa1/7Qe3atW3FjTLprr/+eq/wSIUx6vo0fLKNNHe6Rt+sJ71jWo9kG/3fZL5pxRnMqJdZwYWLFi3yethNmzaNOnfuHLVt29ZW3Gij0wf7iy++sJVkCh679NJLzfChtFvd24YNG2wlmVKlZ8+eba5Rm50rbXSajw4dOtiKG73QClXz2RyrVatmznXeeed5BcatXr3aNHQ+IZBpqeHUffk2nGlUrFjRzIfGySefbKvJFJao9aEmxoc+hEoc9/kQ6ho1F5oThRK6atasmXnOp59+uq24SdO86Po0h+eee66tuFEDrfuqXr26rRSeDz74wLzTCgx1pfsqXVf5CI9U86f16LPvKDlc+2KPHj1sxY1+wGgN6weNq4MHD5rr0/BJlVZTrGvUD14falo09z7p7TQv36fmpSiDGfNt/PjxceYDf1woVtJo2bJlnFmM9gi5lXlB44cffjjOfDSyXkt5j8GDB8fz5s2zZ8+tOXPmxJlfM1mvo7xH69at48wmYs9cXCZNmhR369Yt632XNRRmp1A7hdvlQ5pgxrRjwIAB8cyZM+2ZC9OECRPikpKSrNcf8mjXrp151r4U9qnQz2zHLO/RtWtX887kA8GM30cwIwAACA7NCwAACArNCwAACArNCwAACArNCwAACArNCwAACArNCwAACArNCwAACArNCwAACArNCwAACArNCwAACEpRBjMqbGvt2rVm+KQop6UQPAWQ7dq1y1aSKSn42muvNcPHtm3bTDijAvhc6RHr+hRemI/05UsuucTcl09CcVpz586N/vSnP3mnKCtYrXXr1l6psLVq1TIBf506dbKVwqMkXt3XaaedZituFG45derUaOXKlbaSTOfScx44cGBeEorTBDMqiFDz0apVK1txc8EFF5h780koTkuhhdqrNm/ebCtuNA96r7/88ktbyZ0dO3aYa/QJn01LAblaU/3797cVN7o+7XFbtmyxlWSHDx8++q3wCT3s2rWrCT0cMmSIreSO0q5ffvllk2bv8z3TXqU1rBT3YpP5phVnqrQSckuj+r/99ltbzR0tkm7dukX169e3lWRKUdYHVMPH/Pnzzb0tXLjQVpKddNJJ5mXTNfpGuKfRuHHjqHnz5nlJX07bvFx11VUmPl/X6UofmQULFnjNfb61adPG3Ndll11mK262bt1qksq//vprW0lWpUoVM39aw0qYzrU0zYs+hIMGDfL+kaDUX92X0t9zTQ2j1u+bb75pK27OPvts8043atTIVnJHTZL2UyXo55oaTs29bwPerl07Mx8+77RS1HVfmn+f5Ot8Ni+6xo0bN5r388iRI7aarF69emYeGzRoYCvFQ81LUaZK79q1K77//vvjzC/D41I2czVuvfXWeMmSJfbsuTV9+vS4X79+Wa+jrFGpUqX4zjvvjDdt2mSPUjzSpkrfdttt8bJly+xR3KxZsya+/fbbsx6vUEbnzp3jp556yl5xcUmTKp1p5uKxY8faIxSmTDMcDx06NOv1n2joz+jP5oMStpW0ne06CmUMHDgwnjVrlr1iN0pEVzK6EtKzHbOskc9UaXwfqdIAACA4NC8AACAoNC8AACAoNC8AACAoNC8AACAoNC8AACAoNC8AACAoNC8AACAoNC8AACAoNC8AACAoRdu8KM+ncuXKeRnKdalQoYI9s5s4jk0omEIkfYayLdLcmyjUK9sxQx6aD819tns+0UjzzPTP53td+Uq7rvRn9Gd9pTmX1qFPRkspzX2lSpWOm6OkoX8+H7lL/xdaV7rGbNd/oqE/l2b+0wydJ80zyyddX5o9rtDvC9kVZTDjvn37TGCfhkKtck2pnT179vQKSFMA3gcffOAd8qfkU92fTwKqVK9e3QSe6QNQTLT5aD58n7NSg/XMlO7tSumuWlPvvvuureSOPhZaG1ojPkngCiLUfXXp0sVW3HTo0MH8GYVqulLoqa5RQ8/BlYLzFGzXtm1bW3GjUEDNv0+KssLplHJ+8cUX20rhUZq07uvDDz+0FTcKd9V7rQYt11avXm2ucenSpbZSeBRUqbV/+umn20oyrVvdl4bPe5bPYEZ8X6ZtKc5UaXXSWoga+eiq1RQordlnE9m0aVP0+OOPR3/7299sxU337t2jwYMHm4+vK30I//nPf0bPPPNMtH37dlstDp07d45uuummqHfv3rbi5uSTTzbD55lpHpVY7rPJpaVNVWtj/Pjx0bZt22w1mX6R6760Jn1cd9110a233moS0l3t2LHDXKPWsRpIVxdeeKE51xVXXGErbkrfaf26dqXnW/qsC5Wete7LNwH/1VdfNe/1Z599Ziu5ox8Husb9+/fbSuFRM6d9WGnnrvT5K32nfb4VNC//XWpe9C/4L1i3bl2cWfxHU0pdR//+/eMZM2bYo7jJbI7xww8/HDdr1izrMUMemV9a8eTJk+2dFo/MxyJ+6KGH4iZNmmS97/IemU04nj9/vj27m0xTFd93331xplHKesyyRq9eveIpU6bYoyCtCRMmxCUlJVnnmJHbQar0f1em0SRVGgAAhIXmBQAABIXmBQAABIXmBQAABIXmBQAABIXmBQAABIXmBQAABIXmBQAABIXmBQAABIXmBQAABKUos41C8Pnnn0cTJ06Mnn76aVtx06NHj+jmm2+OLrroIltJpkyeSZMmmeGTk5NPukblLil0zydjpKSkxMxH3759bSV3lJnSoEEDM3wohFP3pQwVV8q70drQGvEJIlRQn66vbt26tuJGwYWXX365V6jdrl27jl6jT+ZNr169TC7MwIEDbSV3FGCq+fOZw3xL+8xeeeUV804vW7bMVpIpF0pzoXfNZ+tXZpCusXbt2rZSePSe6b6UU+RKQbWl77RPzpmCTIcOHRr179/fVtzondH8+2SBpRXCM0srs3aLM5gxBPqQKaF1yZIltuLmtNNOM+mpSg92pWZA59LwebHzSdf1xhtvmOGTEK0kb81Hy5YtbSV3tBH069cv+tGPfmQrbhYvXmzuy+cjo2audH34bHQtWrQw1+iboqymVunGPg2WGhZdn67TJywxn82L7ktzP3PmTFspPFq7l112mfczU9Kz5l8Bma70gf/3v/9t5kQNsqszzzzTrCsFoRaqRYsWmftavny5rSTTDxLdl+a/Vq1atppMe4H2HZ9mX5RIr2vcuHGjreTOWWedZe7NJ2w1FGpeCGZEQchswPGoUaPizK+Fo+FnhTZat24djxkzxl6xu2nTpsV9+/bNeszyHpmPS/zUU0/ZM7tTyFy3bt2yHrO8Rz6DGVetWhWPHDky63UUylC4okIW82Hr1q3xvffeG1erVi3rtZQ1evfuHU+dOtUepTBpTWltZbv+soZCRRUuqpDRfNC7qXc027WU99Ceo72nGBHMCAAAgkPzAgAAgkLzAgAAgkLzAgAAgkLzAgAAgkLzAgAAgkLzAgAAgkLzAgAAgkLzAgAAgkLzAgAAgkLzAgAAglKUwYwKHFM4l4ZP+BjKh4Lm2rdvH9WvX99Wku3cuTP605/+FI0ePdorHDCtNm3aRGeccYZX4mqNGjXMn/MNY/viiy9MiJ4Sb3NNc6+k20suucRW3CgdesyYMdGCBQtsJVnVqlXNHOpZ+yTyKjBO19i1a1dbcbNq1SrzTu/Zs8dWkmnuX3vttWjGjBm24qZZs2bmvhT8mWunnHKKWVfNmze3FTetWrUy8++TRq350HPWe+aTBN67d28TpjlgwABbcbNy5cpoxYoVXs9MAYm6r7Zt29qKm5deesnsIbNnz7aVZFrDV155pVmPPsGMaSmQUXvB7t27bSWZglk1h1r7Pon7StrXM7v66qttpXhk2pbiTJXWi/Lss8+aUagpysVMCa033nijSV11le/m5brrrjPX6JNGrfTeWbNmRXPmzLEVN5qHSy+91HwMc00NVpMmTUzqrY80zUudOnXMHGpUq1bNVpOpYWzcuLHXR1cmT54cPffcc9GGDRtsJZk+0Fu3bjUfbR89e/Y099WlSxdbyZ1NmzaZdeUz96KPrq5RH3pX+W5eXnzxRbMP6x5dqYnTfV1//fW24iZN83LSSSeZtahRuXJlW82d888/3+wFao5dad8p/Z75/Bgv9ualKFOld+3aFd9///1xZpM8LmWTkZ8xePDgeN68efZpuMl3qvRtt90WL1u2zJ7dzZo1a+Lbb7896/FONDKbR/zmm2/aoxSmNKnSDRs2jB944IE48wPBHiW3xo0bF2cawKzXUt4j85GOZ86cac+cWwsXLoyHDh2a9TpONPRn9Gd95DtVeuzYsXHbtm2zHrOs0a5dO/OsfaVJlc73GDZsWLxo0SJ7xW62bNkS33333XGVKlWyHrOsQao0AABAAaF5AQAAQaF5AQAAQaF5AQAAQaF5AQAAQaF5AQAAQaF5AQAAQaF5AQAAQaF5AQAAQaF5AQAAQaF5OYbC5WrWrBnVq1ePkRkKjFNwWT5UqFAhql69usm7yXYt5T0qVqxoMpSUqeQ6FKbmkwdT6rvvvjN5W9mOWShDGWCHDh2yV+xGIXEKjdu1a1fWY5Y1vv76azMnvpSfpDWZ7XmWNfTP++QulUrzzDQP3377rVd4nmjfOfnkk7Ne/4mGsnj03LJdS1njq6++Ms8szlOkXT6fWT6l/VboOfuEmKJsRRnMqBe0NORPG6WrFi1aRBdddFHUoUMHW/lhU4jbe++9Fy1atMhW3AwePDi64447ogsuuMBWkmlDff/996N58+al+rD50rL3/cjo46RrnD9/vq24adeuXXThhRdGrVu3tpXC88knn5h727Jli60kUwiknrHuzSfUTmGYF198cXTmmWfaipsPPvjAXKOC6lzpmWkN68/5UIim7kvJza70UdKf0R6iD5urzz//3Fzfxx9/bCtu0qxhNew6l4ZPs5o2mFFhkzqXGidXSqPXuvJNHU8TzJhW06ZNzXM+55xzbMXNueeea+5NQZCutD5KwzR99kZSpQOUtnnRxvPb3/42uvbaa23lh23JkiXRuHHjokmTJtmKmzTNi5ahXkylpuZjSeqeHn/88WjVqlW2kkwfCl2fb3Olj1qVKlXM3/YUKt2XxuHDh20lmf62TPelxkX/2VWPHj2iESNGeG+qpXPv88Feu3atWcPjx4+3FTdpnpn+tuA3v/mN2UNOPfVUW02mOS+dfx9K2dYaVuPpqvQ9813DaZuXNM9MSc+l68pHPpuX8847zzznn/zkJ7biRveke9M9uqJ5+b7MOiZV+tjRvXv3+IUXXrBHweLFi+Phw4dnnasTjTSp0vn22GOPxZlf/lmvn5HboeRfJQDnQ6Y5jUeOHJn1Osp7ZJqX+J577jHJzfkwYcKEuKSkJOu1lPdImyqdT/lMle7atatJYs8HUqW/L9MMkyoNAADCQvMCAACCQvMCAACCQvMCAACCQvMCAACCQvMCAACCQvMCAACCQvMCAACCQvMCAACCQvMCAACCQrbRMbp3726yIG644QZbcaMAQwXaKVG2ECl3RkFiGsrVcKWgOM3jk08+aStu0mQb5dvUqVOj5557LtqwYYOt5I5C6bQ+lEqda0qt1XP2ydaR7du3m2tUcF+u9erVy7xnAwcOtBU3W7duNdeoEE9XCnF85513ov/85z+24ibNM1O2ke5Lo1GjRraaOxMnTjTv54cffmgruVNSUmJyfJRLVajmzp1r3umPPvrIVpIpY6h0b/TJUlKoqOajX79+tuJm27ZtZl0pDdyV1vDzzz9vhk/+FcGMAcp38/Lmm29G06dPjzZt2mQrhUUv6FVXXWUWsWLZXRVz87JmzZpo5cqV0Z49e2wldxYuXGjWh0+AXlpKQdZzVoPgQxu/rnH16tW2kjtpm5cZM2aYa1RQnSulOyshWsnePpRgrXN9+umntpKsmJuXhg0bmjnUR75QqSnQO61G3FXVqlXN3qhRu3ZtW01Wt25dMx8tWrSwFTezZs0y62rdunW2kmz//v3mvjR8Ai4JZgxQvoMZx48fH3fo0CHrMQthVKpUKb7zzjvjTHNlr9hNMQcz5pPC0RSSlm2uynt07tw5fuqpp+yZ3Slkrlu3blmPWd4jbTDjuHHj4kwjkvWYZY02bdrEY8eOtUdwpxBChRFmO2ZZo5iDGYt11KhRI77vvvvibdu22VnNLb2bekezXUt5D4IZAQAACgjNCwAACArNCwAACArNCwAACArNCwAACArNCwAACArNCwAACArNCwAACArNCwAACArNCwAACArNCwAACArBjMdIG8z4+OOPm/MtXbrUVgpLpUqVjgbGNWvWzFaThRDMqKRhheetXbvWVnKnVq1aUadOnaKzzz7bVty88sorZh7feustW8mdzp07m+c8bNgwW3Hz9NNPR2PGjIkWLFhgK7mjoMQf/ehH5lp9KNROc6gUd1cKFNS5evfubStuFi9ebAJXly9fbivJ8h3MOG/ePHON+UhGV+ih3rP169fbipsOHTpEHTt2jE455RRbSaYkb50rH/upUva1PjQU4ulK60r31bZtW1tx849//MPsBT7J12mRKh0gmpfjFXPzosTmCRMmmE081zR3t9xyS3TzzTfbihual+PVqFEjql+/vmkGfezatSvasWNH9N1339lKMn2clKTuk6YuShvfuXNntHfvXltJlu/mRR95zYdSh3Nt/vz55j17++23bcXNTTfdFA0dOtQrfVkNks717LPP2kruKHG/dH1on3SlHzDaC3wbA5qX8qHmhVTpYwap0scLIVV6zpw58aBBg7JeR3mP1q1bx5kPvD2zO1Klfxgj36nS+TRz5sx4wIABWe/7RGPkyJHxypUr7VHcrFixIh4xYkTW4xXK6Nq1q3lnfJEqXT5IlQYAAMGheQEAAEGheQEAAEGheQEAAEGheQEAAEGheQEAAEGheQEAAEGheQEAAEGheQEAAEGheQEAAEGheUFBOHLkiMlq2bRpkwmacx36M8rKUXaKz1CWSeXKle3Z3Rw6dMjk62S7jhONb775Jqpdu3bW6yhrNG/ePKpTp05UsWJFe3Y3yv1RJk+26zjR8M0MKnbVq1ePTj311KzPpqyhZ6YAwjTPTPOf7bmcaPDM/nvSPjO9mzyz8kEw4zEIZjxePoMZv/3222j27Nlm+LzcVatWNQF/+tj4eO+998y5tm3bZivJ9GE677zzzPChwD41L7pWV4cPH47mzJljrtFnDSvttqSkxKT5+vjss8+iDz/80CuxuZgpeK9Xr15eqcF6z7Q2NP9qqF2pYddzVsiojy5duphrPO2002wldxTIqL3g5ZdfthU3I0eONHuBzzyuXLnSnOvRRx+1lcKj4E095zPPPNNW3Ogbofds+/bttpI7BDMGiGDG40cIwYyZXzHxqFGj4po1a2Y9ZlmjZ8+e8eTJk+1R3D322GNxZuPJeszyHpnNI37zzTftmd0cOHAgfuihh+ImTZpkPSYjt0MhhAojzIdM0xIPHTo063WcaOjP6M/mA8GM4Q2CGQEAAAoIzQsAAAgKzQsAAAgKzQsAAAgKzQsAAAgKzQsAAAgKzQsAAAgKzQsAAAgKzQsAAAgKzQsAAAgKzQsAAAgKwYzHSBvM+Prrr0dTpkwxqaGFSCm3AwcOjK677rqofv36tposn8GMe/bsMXOosX//fltNpgA93ZeenY9XX33VnEuheLl2/vnnm2vs3LmzrSRTOKXmXuPzzz+31dxp0qRJ1KpVKxM+Waj0fq1fvz7au3evreTOgAEDzF7Qu3dvW8kdBfXpOU+cONFW3Ch4T++1T+hhWnpPFi1aFK1Zs8ZW3Jx77rkmrNJnXW3ZssW8m6+88oqtFB7dT8uWLaOmTZvaSuHRfqN9R/tPscm0LX+keTlG2uZFL7Y21W+++cZWCkuFChXMi6aPk0+ycT6bl4MHD5o51Dh06JCtJqtbt665N6W8+tAzW7duXV4+hEp61jX6NI75bl769OljPoTt27e3lcKjj5k+aps3b7aV3AmhedGHU+tKieW51rx5c5OifPrpp9uKm48++sg0PdqTXSlhXu/mxo0bbaXwtGvXLho0aFBe1kda2m+0PrT/FBs1L6RKHzPSpkoXq3ymSuN4+U6VHjJkSDx//nx79sI0bty4ONNcZb3+8h4hpErnc2Q+0vHUqVPtFbsbO3Zs3LZt26zHDHl07do1njRpkr1L5Bup0gAAIDg0LwAAICg0LwAAICg0LwAAICg0LwAAICg0LwAAICg0LwAAICg0LwAAICg0LwAAICg0LwAAICg0L8eI49iMI0eOMDKjdD7yJe3c5/Ma80mZVCeddJL30J/Ll3w+s7TzkWZImntLe1/5vLc060P3la/5wPelnftinn+CGY/RunXr6JJLLonOOeccW/lhUyDgnDlzovnz59uKmzTBjEqSVkCdhkIJXZ122mkmMC4fybr5dPjwYTP3s2fPNonbrrZt22bmcOnSpbbiZsiQIeaZdevWzVaS7du37+gzU7CmKz2zLl26RG3atLEVN++++240d+7caPv27baSO9WqVYtq1qzpFWRaqVIlsxY1atSoYavJFBKqZ71w4UJbyR0FkSooUc/MJwBV75f2RqW4+9Az0719+eWXtlIcunbtaoI79d7kmp5Z6XumfcFVixYtUoVphiDTtpAqfSxtVNqwfDaeYqYPkj6cvsnLaZoXPbO//e1vZihV1pXi3n/5y19GV1xxha0UB72WSinX/PtsWGpaNIcvvviirbhJ07zs2LEjeuKJJ8z51Mi4uvDCC6Nf/OIX0eWXX24rbkrnw+ejm9Y777wTPffcc+aD4Ur7h+5L67FBgwa2mkzNuu4tHwnnaiL+/ve/m2d24MABW02me6tVq1ZUvXp1W3GTz2eWT/lsXvSDpPSZ+fxI6N69u1mLffv2tZXioeZF/1J00qZKM8pnpEmVznwI41GjRsWZ5jHrMcsaPXv2jCdPnmyPgsyv6njYsGFZ5+pEI02qdGZTje+777440+xnPWZZo1evXvGUKVPsUQqTEpSVpJzt+ssa1apVi++5555469at9iiFR9d27733mmvNdg8Mt5HPVOktW7bEd999d1ylSpWs11LWyDQt8bRp0+xRissRUqUBAEBoaF4AAEBQaF4AAEBQaF4AAEBQaF4AAEBQaF4AAEBQaF4AAEBQaF4AAEBQaF4AAEBQaF4AAEBQijLbSFkaEyZMMCMfeSE4Xv/+/aObb77ZK+By9+7d5nlNnDjRK9tIwWO33HJL9KMf/chWftg+++wzM4dTp061FTdXXXVVNHTo0Khjx462kmzXrl3mXHpuCtZ0pVwYPbM+ffrYSuF5++23zb35hJJWqVLFzKHurX79+rZaWJRHVfrMfAJQcTwFVOo5673JNQWR6plp+GQbKVtO19irVy9bKR6ZtqU4gxn1Un766adm8ILmn9KC9RFs2LChrSRTSFzpM/N5QRs3bmzO1apVK1v5YdPHSXO4cuVKW3Gj1GBtyD7PTA1L6TPzCd5r0qSJeWYtW7a0lcKzYcMGc19btmyxlWRKldYc6t58AwzzRQGauq8lS5YUXVhiPuk90XP2TUZPQz/m9Lz03HxCWps2bWquUenSxaZomxcAAFCc1Lzwv3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qXDkyJE59j8DAAAUtAoVKkz6/wB8v1fPGI4D9gAAAABJRU5ErkJggg=="/>
          <p:cNvSpPr>
            <a:spLocks noChangeAspect="1" noChangeArrowheads="1"/>
          </p:cNvSpPr>
          <p:nvPr/>
        </p:nvSpPr>
        <p:spPr bwMode="auto">
          <a:xfrm>
            <a:off x="44450" y="-76200"/>
            <a:ext cx="5324475" cy="532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data:image/png;base64,iVBORw0KGgoAAAANSUhEUgAAAi8AAAIvCAYAAAC81DtEAAAAAXNSR0IArs4c6QAAAARnQU1BAACxjwv8YQUAAF07SURBVHhe7d15sFXF2f79hcwIyCiTTDKoCIoHcAJEIKKiIqJJRERCEmNCeDSpshzKoqxKWeZn+QchiDGYqAE0TgQRUTGKDBoRREQFZJ4RQUBEBGRY77766UPB6z6s7vWcvbN7+/1UdZK6S9bQq1eve5NUrgpxRgQAABCATNvyx5PsfwYAAAgC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gKzQsAAAhKhTjD/ueioVv67rvvzCjC2yt4lStXjqpUqRJVrFjRVpLl+5np+jROOsm9fz9y5MjRa8wHXV/VqlWjChUq2Eqyw4cPm+s7ePCgrbjJ5zPTOXRflSpVshU3pefSc3Cl51v6rAvVf+OZHThwwFbc6FnpXPl4ZigfaZ9ZCDLr+I9F2bzs378/ev/996N58+Z5v6T4v+vYsWN0wQUXRM2aNbOVZPv27Tv6zLTZ5VqXLl3MNTZo0MBWkn311Vfm+ubPn28ruaMPkq7vwgsvjGrWrGmrybZu3WrmcfHixbbiplOnTuZ8TZs2tZVk33777dFn5vPhbdmypbmvM844w1bcfPDBB+Z8O3bssJVk9erVM/fVrVs3Wyk8n3/+ubmvjz/+2FbcnHPOOebemjRpYivJ9u7de/SZHTp0yFaTtWrVyjyz9u3b24qbBQsWmPPt3LnTVpAvrVu3Ns+sXbt2tlI8irZ52b17d/SXv/zFjD179tgq8uX666+Pfv3rX5sGwdWuXbuOPjNtsLn2s5/9LPrNb37j9WKvX7/eXN/48eNtJXf0i0lzqGts1KiRrSb75JNPzDU+++yztuLmxz/+sTnfeeedZyvJvvzyy+ixxx4z51Pz6ap79+7mvvr3728rbv7+97+b861evdpWkumjO2LEiOiXv/ylrRQeNS2PPvpo9Pzzz9uKm5/85Cfm3tTEuNq+ffvR98znh12PHj3MM7vyyittxc3f/vY3c661a9faCvLlkksuMc/s8ssvt5XioeZF/1J0Mh/C+P77749r166txoyR5zF48OA488vOPg03mV/T8ahRo+KaNWtmPWZ5j9tuuy1etmyZPbubNWvWxLfffnvW45X3yDQv8V133RVv2bLFnt3NokWL4mHDhmU95onGkCFD4vnz59ujuNm2bVt83333xTVq1Mh6zLJGr1694ilTptijuBs3blyc+eWf9ZhljTZt2sRjx461RyhMCxcujIcOHZr1+k809Gf0Z31s3bo1vvfee+Nq1aplPWZZo3fv3vHUqVPtUdxp7tu2bZv1mIzcjr59+8bTpk2zT6K4HDly5EH+B7sAACAoNC8AACAoNC8AACAoNC8AACAoNC8AACAoNC8AACAoNC8AACAoNC8AACAoNC8AACAoNC8AACAoRZltpAC9P/3pT9Ho0aOjr7/+2laT1apVK2rcuHFUv359W/lhU/CeQuOUh+Jj8ODB0R133GFC41zpOSmPR8MnJ0d/TmGEvsFvAwcOjG688UYTEuhK55g1a1Y0d+5cW3Gj3CZdozK3XCkx+Kc//am5Rp/1uHLlSjOHr776qq24GTJkiHlmPgGGes90rueee86EobpSfpLuS9krPv71r3+Z823cuNFWkikcVOe64YYbbMWNnpnWvs/+kdby5cvNfb3++uu24mbo0KHR7373u6ikpMRWkmkN63npfD4BqDqH5rFnz5624uaRRx6JxowZE61atcpWklWrVs2ETfpkehUzPSftH1qPPp/rvn37mvVx9dVX20rxyMxDcQYzpm1elHKr4DGfj24x27Bhg/kIzp4921bcpGle9IJqE9fwSbv97LPPotdee8076blNmzbmedeuXdtWktWoUcP8udNPP91W3CxatMjM46effmoryU466SST4KtrrF69uq0m00d3xYoV3kF4aZoXBfvpeel8Ps/s1FNPNfflkzou+gDqfD5hq0rk1rl8k3UXLlxontnSpUttJXf0zHRf69atsxU3aZoXNZl6Xjrf4cOHbTWZGgmtR99nlqZ50Q9IhXZedtlltvLDpu+Z9jitR5/3rNibF4IZjxndu3ePX3jhBXsULF68OB4+fHjWuTrRSBPMmNacOXPiQYMGZb2O8h6tW7eOMxuxPbM7haMpJC3bMQtlpAlmLGYKIVQYYba5KpSRJpgx39IEM2YaTRPCif+lcNa7777bhLVmm6+yBsGMAAAABYTmBQAABIXmBQAABIXmBQAABIXmBQAABIXmBQAABIXmBQAABIXmBQAABIXmBQAABIXmBQAABIXmBQAABIVgxmN0797dBFn5JtAq5GzJkiXmvIVIIX9nn322GQoXdPXxxx+beXzyySdtxU2aYEaF/GkONQ4ePGiryZSi/MYbb0QffvihreROgwYNon79+pnAMx+aR13jsmXLbCVZ2me2Y8cOM4c+QXhy4YUXmiC8Vq1a2Uoypf+WXmOlSpVsNZkScnWN69evt5XcUfCmru+ss86yFTcvv/yyWftvv/22reSOUsN1jW3btrUVNw0bNjRBiSeffLKtJFPIZ+kzq1ixoq3mTppgRoVoah8eMWKErbjRetK60voqVLo3zX29evVsJZnSpDWH+p75JIGTKh2gfDcvkydPjiZNmhStWbPGVgqLNqmbb77ZDCX6uspn87J7924zhxrffvutrSbbu3dv9OWXX5o/n2tVqlQxDYyGD61BXeM333xjK8kqV65skp6VHOxzPjXSmkN9fH3UqVPHnMenUapbt+7Ra1Qj40qJzRMnTsxLY3DaaaeZ67vxxhttxU0+mxc1Vno3fT8y7777bvT66697pVGrUdIz0/mqVq1qq7mTz+ZFz0rrSuurUF1zzTVmPSrp3BXNy/epeSFV+piRNlV6/PjxcYcOHbIesxBG5ldxfOedd8abNm2yV+wmn6nSO3bsiEeNGhXXrFkz6zF/aEMJsnfddZdJlPWxaNGieNiwYVmPWd4j88s/fuCBB+JMA2nP7mbWrFnxwIEDsx6zvEebNm1MsrGvfKZKl5SUxBMmTLBndqc/oz+b7ZhljUaNGsUPPvhgvG/fPnuU3MpnqvSUKVPiXr16ZT1moQy9m3pHfZAq/X2kSgMAgODQvAAAgKDQvAAAgKDQvAAAgKDQvAAAgKDQvAAAgKDQvAAAgKDQvAAAgKDQvAAAgKDQvAAAgKDQvKAgKIiwVq1aUdOmTU3YXK6Hsnx8wgRFGVGnnHJK1uOdaChPJh85MgiTgkh37doVbd682WsozFTrONuaK2s0btzYvGcVKlSwZwfCRDDjMdIGMz7++OPmfEuXLrWVwqKPtO5LQxuYq3wGM+7fvz/64IMPTKiaT/hYWu+//340d+7caNu2bbaSTEmwPXv2NOvEh9KkdS6fcDqFQJY+syZNmthqso8++sg8s3/84x+2kjtKNdZz/v3vf+8V6Dh79mxzjS+99JKt5E6bNm3MHI4cOdJW3OQzmLFRo0ZRly5dTNqwD4VhKiXapwlXArXOpeHbvKeRz2BGrSc9M62vQjVs2DBzb507d7aVZAQzfl+mbSGY8dhBMOPx8hnMKIcPH44zv0LzMh599NH4jDPOyHr9ZY1WrVrFmQ0k6/FONDKbatynT5+sxyxrEMxYPiOEYMYKFSrEFStWNO+pz7jlllviBQsWZF1zJxp6z/KFYMbjB8GM5YNgRhQU/VdHmU05L0Pn8v2rc/3zaa5R/3UTf02PsmT24ijTUESHDh3yGvpzadaj/gwQOlYxAAAICs0LAAAICs0LAAAICs0LAAAICs0LAAAICs0LAAAICs0LAAAICs0LAAAICs0LAAAICs0LAAAICsGMxyCY8Xj5DGZMS896/fr1XgGLMn369Ohf//pXtHHjRltJpkTeQYMGRQMHDrQVN6tXrzahkxs2bLCVZHpmOpeGAiFd5TOYUQnbpdfok5qtOdd8+IT1paVQS13ftddeaytu0gQz6v92v0WLFlHLli1NsGauKXjv+uuvj9q2bWsryRTsp3Wod+bIkSO2mkxrUPemME4fBDMej2DG8pFpW/5I83IMmpfjhdC8LFmyxGxa7733nq240Qa+du3a6JtvvrGVZEpObt26ddSqVStbcaOP2bnnnus19/oQ6lwaPo1BPpsXfaBLr1H5Ta6aNm0anXPOOebP5ZpSlPW8fJ9ZmuZF86EmSaNOnTq2mjtaT5pDNZGutDdOnTrVvDMHDx601WSdOnUyTbvvO03zcjyal/Kh5oVU6WMGqdLHy3eqdBpz5syJM7+ss15HoYzM5hG/+eab9opzK5+p0mmHkn+VAFzI0qRKV6tWLb7nnnvirVu32qMUHl3bvffea6412z2UNTQXmhNfpEofP0iVLh+kSgMAgODQvAAAgKDQvAAAgKDQvAAAgKDQvAAAgKDQvAAAgKDQvAAAgKDQvAAAgKDQvAAAgKDQvAAAgKDQvAAAgKAQzHiMtMGMCgVUgNsXX3xhK4VFIX+9evWKevfu7RXils9gxv3795tQQQ2f8LE1a9ZEs2bNihYvXmwrbjp27GjC0XwSm3fv3m2uz/dcZ599dnTppZdG7du3t5Xc2bx5s5mP+fPn24qbM844w8xHo0aNbCXZvn37zHwsWrQoOnTokK0m01rUe+abzp1PaYIZK1eubO5Nz7pWrVq2mjtnnnlmdN5553klPWuPKg350zvnSnuHntmAAQNsxU0+gxk/+eQT87yU4l6ozj//fLM+fEJaCWb8vkzbQqr0sdI2L3v27DHn8VlY+VShQoWodu3apnHxSf/NZ/OiZ/bEE0+Y8e2339pqMm3Amvu9e/faihtd489//vOoTZs2tpJs48aN5vp8E5uVRq35r169uq3kjtagmiyftGxREvLw4cNN2rOrnTt3mrWhOVEj46pYm5e071la1113nVnDao5dFXPzon1Da9/nvvKtZs2aZn0ogdwVzcv3qXkhVfqYkTZVuljlM1V6x44d8ahRo+LMy531mOU9brvttnjZsmX27G7WrFkT33777VmPF/oYMmRIPH/+fHunbrZt2xbfd999caY5y3rMsoaSf4sxVTrfY+jQofHChQvtFbsp5lTpYkWq9PeRKg0AAIJD8wIAAIJC8wIAAIJC8wIAAIJC8wIAAIJC8wIAAIJC8wIAAIJC8wIAAIJC8wIAAIJC8wIAAIJCttExSkpKomHDhkX9+vWzlR+25cuXRxMmTIj+9a9/2YqbNNlGyskpfWY+uTzKC1K4om8Qnp6xclp8AtK2bdtmMm+mT59uK250P7o/n8wm5eTUrVvX3FulSpVsNZlyXXbt2mUyXnwMGTLEPLNu3brZSrLt27cfzVzxube02UZ6rzWPPvkuypDRPGr4SJttpOelc/k+M92Xz14lQ4cONfOofctVCNlGLVu2NPuw9hH873umfViZagcPHrTVZAQzBiht89K4cWMTTHf66afbyg/bjh07TDijmhgf+Wxe2rZta15SJSL70L1pUzhw4ICtJNOHUAm+DRo0sBU3SrudOXNm9Nlnn9lKMn38+vTpY+5NYX+uNm3aFL311lvRvHnzbMVNCM3L7NmzzTyqiXSlZ6U5VJKvj7Sp0qXPzKeZVuCnntn7779vK26KtXlRcKH2YZ/AyWKm0FntIdqLjxw5YqvJir15IZiRUe4jn8GMPXv2jCdPnmyP4u6xxx6LzzzzzKzHLGu0bt06zmzE9gjuFI6W2UiyHrOsoRC2u+66y4Sy+Vi0aFGc+dWa9ZgnGiEEMyqsr3379lmPWdZo06aNCQf0lSaYUWGH99xzjwk/9KFwRYUsZjvmiUaxBjMyymdozyGYEQAAoEDQvAAAgKDQvAAAgKDQvAAAgKDQvAAAgKDQvAAAgKDQvAAAgKDQvAAAgKDQvAAAgKDQvAAAgKDQvAAAgKAUZTCjgqxeeeWVaNq0adG+fftsFfnSo0cPEwbWrl07W0mmMEY9Lz03n8C4s846y5zrwgsvtBU3f/3rX03wnk9Y4qmnnhpdc801Uf/+/W3FzebNm815tm7daivJFMyo+9LwSURet26dmcdZs2bZipuePXuacyno0lW+gxlff/11sz4+//xzW0nWqFEj88yuvPJKW3GzYMECc65PP/3UVpIpmLH0mdWpU8dWk61Zs8acS8GTPlq3bh2deeaZJsnald4trUWNw4cP22qyjh07mvvyCe6U1157zdybz9pH+ejUqZNZ+126dLGV4pFpW4ozVfrQoUPmg6Gh/4z80ke+WbNmXsm6ek5KRNYz89lUlUCrc/kmPadpXqpVq2bOpeHjjDPOiC6++GKvtPKTTjrp6LmUZu1KTaDmUOnBPtI8s3w3L1u2bDH35vODpHr16ua+mjZtaitulDqucymh3lW+n9lHH30U/ec///Fq5mrWrBlddNFFZj2qQXalZkz3Vb9+fVtxk+aZoXzomZ122mlezW0oirZ5AZKkaV7S0i9WfawVUV9M8t284HgTJ040a/jDDz+0lWT6m6g77rgj+v3vf2+acSBEal7437wAAICg0LwAAICg0LwAAICg0LwAAICg0LwAAICg0LwAAICg0LwAAICg0LwAAICg0LwAAICg0LwAAICgFGU8gG7p4MGDJi/H5/YqVqxo8j58Mj9E59H5jhw5YivJKlSoYILcNAqV7qd0HnOtdD409/rPufbEE09EjzzySLRixQpbSVa6rjR8XHHFFdHIkSOjSy+91FbclK6PfMxHmjX85ZdfRuPGjTMjH/EApWvR5xrzLZ/PLE08gDKsfvvb35rhEw+gvVH3pX/PNT3f0vXoI9/XWLoefWh/0zUqB8tV2n0nn/ORb5k5Kc5sIyWnzp8/34wDBw7YarLmzZtH559/vklq9aGANJ1LWS+uFCioc2kUqm3btpn7Wrx4sa3kjgL0SufDJ9QuLaUGv/vuu+YD7EohfZoP/VkfCmbs3r27VzCjNpzS+VCYXq4pPVn3pSA9V2pYFAyoefTZWNM2LwsXLjTXqNDEQqQPU+kzO/nkk201d9I0L1pLCmX0DWZs1aqVuS+fpPi0du7cad4zPW8fes90jS1atLCV3FEYpq7RJ3VczjnnHHONyphypeBOnUvDJ7RWqeM6l09SfCiKtnnZvXu3Cd577LHHoj179thqMj3oX//61yZG3Ic2EZ3L51e80j51rttuu81WCs/SpUvNff3zn/+0ldxRAqrmQyMfG78aXCXd+mwGGzZsMPPx+OOP24obNWNqzvQryJX+Wa0NzYfPRpfWiy++GI0fPz5atGiRrSTTr8/SefTZRtI2L08++aR5r1evXm0rhaVq1apHn1nDhg1tNXfSNC/6xa+1qL918fnboR49eph7098i5tqaNWvMe6bn7ePKK680c6/GLNf0g1XXOHnyZFtx89Of/tRcY8eOHW0lmdLGS79nPj8Sevbsac7Vr18/Wykeal70L0Vn165d8f333x/Xrl1bO6rzyPw6jl944QV7FHeZTT/u0KFD1mOWNVq2bBmPHj3aHqEwLV68OB4+fHjW6y/vUa9evfgPf/hDnGk27dkLT2ZTjW+//fas11/eI9PwxHfddVe8ZcsWe/bcmjRpUtytW7es11LeI9O8xFOmTLFndjdu3Li4ffv2WY9ZCCPTEMT33HNPvHXrVnvFuTVhwoS4pKQk67WU9+jdu3c8depUe+bcyvwIjEeMGJH1Ok40Ms1wPGvWLHuU3FqwYEE8ZMiQrNdxojFs2LA48wPBHsWN9oC7777b7AnZjlnW6Nu3bzxt2jR7lOKS+eH0IP+DXQAAEBSaFwAAEBSaFwAAEBSaFwAAEBSaFwAAEBSaFwAAEBSaFwAAEBSaFwAAEBSaFwAAEBSaFwAAEJSizDZSnpHyeDT27t1rq8kUmnXTTTdFffr0sRU3yrpRxoiygFw1btzYnOvGG2+0ldxRhonycTR8Qg9XrVoVPfPMM9Err7xiK7lTo0YNM+8ayohxVatWLXNfdevWtZXcUWih1tRzzz1nK24U6Kh8kq+//tpWkuk5Kf9Ho0mTJraaTGGJOpdP4KS8/vrr0bPPPuu1htMqKSmJBg8ebDKOfMyZMyd6++23TWCoKwWzbt261evPpKW8oNJnlo88qjTZRmn17t3b3NeAAQNsxY3mXetRGViuFHA7c+ZM87x9aD1pXWl9uVI+l65Pwyc3SDlnukbfkNarrrrKXGP79u1tJZlCIMeMGRONHj06+u6772w1Wd++fc0zu/rqq22leGTaluIMZtQD/uyzz8zwWZAKU1OitG8qaZrmReGDOpdGrimMTYFqCi7z+cjro6s5zEcQnp7TunXrorVr13qFJSpJVvfWrVs3W8kdpbtqPpYvX24rbhTi9tprr0VLliyxlWRpm5f169ebRmTu3Lm24kbzrvvKR2Lzqaeeata9Utx96L1UurFPcKc+npr7f//737aSOzQv36d513pUc+BKP2SUiOy7D2s9aV1pfbnSt0LrQ9foE+J7yimnmLXYtGlTW3GjZHldo88+TPPyfWpeijKYMd/SBDPmc1SqVCm+8847402bNtkrLjyZj2Y8atSouGbNmlnvoazRs2fPePLkyfYohUnhaApJy3b9ZY20wYwKfVP4W7Zjhj4U1pdpsOydulm1alU8cuTIrMcr70Ew4/eNHTs2btu2bdZjljXatWtnQjjzYe/evfEDDzwQZ364Zr2WskbXrl1NmGk+EMz4fQQzAgCA4NC8AACAoNC8AACAoNC8AACAoNC8AACAoNC8AACAoNC8AACAoNC8AACAoNC8AACAoNC8AACAoNC8AACAoBRlMGNaCnFbtmyZCbfzMXv2bBPspdRhVwqX69ChQ3TWWWfZipvNmzeba/Q5V6VKlY4GxjVr1sxWk+3atcucS+nSPhSqpvtq0KCBrSRT+rfmcMaMGSYJ2FWdOnVMgJtCNXOtZs2a5pn5hmkqmFH35RPcqSRw3ZeGTxK40m51rnfeecdWckdBhHrOGlpjrhTSp7nYuHGjrbhR0Fy/fv1MIrsrvdOajzfffNNW3CjkT/flcy4FoOrP+T6z+vXrm3MptM9HmmDG0memdVyxYkVbTaY/c/nll0fnnXeerbjRvGv+fVK9FWqpc+l555pS2BV4qOBDpVm70h6na7zoootsxU2bNm3MXNarV89WkhHM+H2ZtqU4U6XT0kfm6aefjt566y1bcaMkXr2cPrHvSgoeMmRIdNNNN9mKm3fffddc47x582wlWdrmZeXKleZcL7/8sq240Uute+vYsaOtJFOStOZQQzH1rnSNb7zxRl6SdZUgq/tSpL2Pr7/+2tyXT2qt5kOJvLq33bt322qyffv2mXPt3LnTVnJHybhav5oTfRRdLVy40KyrWbNm2YobNcNKDK5ataqtJFMjrI+Sz4dJevXqZe6ra9eutpJMyeh6Zhp65q7UDOtcV111la24SdO8qFEqfWY+DVatWrXMDwSlKfsonXufHyR6vnrOPj9+0krbvCj5WvPh04SIGgnNvdLwXdG8fJ+aF1Klj5H5tRrfcMMNxyVz5mq0bNkyzixGe2Z306dPjzO/PrMes6yRNlV68eLF8fDhw7Me80Qj83GPM82VPUpuzZkzJx40aFDW6yjvkfm1FWc2EXvm3Mps9vFDDz0UZ5rcrNdSCENJvErkVTKvj0zTEg8cODDrMQtlDBgwIJ45c6a9YjeZxjH+4x//GDdq1CjrMcsaSoZWQrSvNKnSurYHH3zQXCvSp0qnHUp8V/K7D1Klv49UaQAAEByaFwAAEBSaFwAAEBSaFwAAEBSaFwAAEBSaFwAAEBSaFwAAEBSaFwAAEBSaFwAAEBSaFwAAEBSyjY6h3CBlhbz44ou2kjunnXZa9Ktf/Sq69dZbbcWNAveeeeaZ6L333rOVZApgU56GhjJDXCk3aNKkSd7ZRgMHDjT3VVJSYivJlGeknBEFNPosyffffz8aP3589Oqrr9pK7iiMTVkht99+u63kjnJydF8ayipypT+neVTGkQ9lEykstHLlyraSTDk5es5ax9WrV7fVZFq7ui8FcfrQfWkcOnTIVpJp7eu+lEXjozTbqFu3braSTLkzymzSUN6Zq06dOpk5vOGGG2zFjfYpzeMnn3xiK8lKs41uvvlmr2wj/bOaR59cKSl9p5XVVYj0nmgOH3/8ca9npvdEa8pn3cs111zjnW2k9790L9D77Ypgxh+QfDYvtWvXNhujz+YoClnUBuKT4isKRtPwedxKydW5fDY5UWKtAu0UZOhKm5zmX82ZT/iYkokXLFgQrVixwlZyJ5/Nizb7Dz74wNzbN998Y6vJFOKmOfQNquzcuXPUvXt301S70uat9atn7dP0pH1mCiPVGvnyyy9tJZk+1rov3/RfNUh6X3waJdH7oqFUcFdKrtY8nn322bbiZsmSJWYet27daivJ9P6X7gU+lHjdo0cPk4jsQ42qnplPY5BPagY0h3rXtAe50nuidaX3xofOp7n3aeb0/pfuBT5/jublBySfzYs2N/0q9Imll379+kW/+c1voj59+thKMm3Af/nLX6Jx48aZj5srbaa//e1vzS8FH2p6dF/6d1e7du2K/vznP0djx471+ljrb2z0QvskUaeVz+ZFdF8aPq/oxx9/bOZRf2Pm48Ybb4z+53/+J+rSpYutJEu7htM+s7/+9a/RI488Yv5G0JU+urovvTM+XnvtNfO+zJ0711aS6W+vdJ4RI0Z4/Q1n2nlMsz70K157waOPPuqVgq+/idI8+n4IdS49s9WrV9tK4Ukzj/pbZe0Dem98/POf/zTryudvy3Rdpdfoo9ibF/43L/8lWpClv+58hhawNrnSX3iuQ0q7fteh69PGmu14Jxr6Fe7TuEjpC5rtOk40dE/5aFz+G/Sc9bde2ea4rKG59/0Iiv6M/my2Y5Y1dG1pzqW14XsuDf1to8/faIj++dK/rfQZusY061F8n1naeUyzPvTPS7ZrP9FI+55pDvU3qdmOWShD+5xP4yJaH2nWldaj776v+fNtXH4IaF4AAEBQaF4AAEBQaF4AAEBQaF4AAEBQaF4AAEBQaF4AAEBQaF4AAEBQaF4AAEBQaF4AAEBQaF4AAEBQyDY6xqeffhpNnjw5mjNnjq0UnvPPPz+6/vrrTRieK/3fUSuzSWPz5s22mky5MEq6vfzyy23FTaNGjaLmzZub8ElXO3fuNNc3evRor2yjOnXqmHM1bNjQVnJHAXqaj+uuu85Wckf/V+ybNm0yIYb6vwh3pQwZZXO98cYbtuJGOShaVz5pt2mlfWZKN9f7qXlxVbduXfPO+LwvokBBzeNHH31kK8mUbaQsGQ29A7mmQEatjz179thKMiU8z58/3wztC64UQKj1cfHFF9uKG+UajRkzJlq1apWt5I7Wk9aV1leutW/f3uwFem986L3UuspH1tN5551nrvHCCy+0leKRaVsIZjyWPqBr1qyJtmzZYiuFR5uimgqfjT9t86LmQ+dq0aKFrbjp2bNnNGDAAPOCu0rbvCjB+tprr83LC6oU5TZt2piAxlzTM9PHWkOhla52795t1rA+aj6UkqtnnY+NX4GfemYXXHCBrbhZt26duTef9aEPu36ULF261FbcqDHQuXwSrPPdvMyaNSuaOnWquU5X1atXN/PfsWNHrzylBg0amPWhBt5HPpsXrSetK9907jT0nmg+fFLYRe+lnpfe01zTN0LXmI+1mG9qXvQvKHIHDx6MH3744bhZs2ZqVHM+Bg8eHM+bN8+e3c2OHTviUaNGxTVr1sx6zLJGplGKM7/G7VGKx4EDB+KHHnoobtKkSdb7Dnn06tUrnjJlir3T3Mp8NOORI0dmvY7yHpnmJb7nnnviTONjz55bEyZMiEtKSrJeS1kj8yGLH3zwwXjfvn32KLk1duzYuG3btlmvpbzHwIED40xDZ8+MYnbkyJEH+d+8AACAoNC8AACAoNC8AACAoNC8AACAoNC8AACAoNC8AACAoNC8AACAoNC8AACAoNC8AACAoNC8AACAoNC8AACAoBDMeIzPP/88Wrx4sXfip8IBlbqqBNtcW79+ffTxxx9HGzZssJVkSih+++23zfjqq69sNVn9+vWjc889NzrrrLNsxU2XLl2i3r17R61atbKVZGmDGRUCqSC8QYMG2UrufP3112Z9aP59aB40jz4hbt99993RME2ty1xTiKau8dRTT7WVZPv27TPzoeGTUNyuXTuzPs455xxbcdOpUyfzZ3zCIxWsOHPmTO+k+LVr15r78gkyrVy5srkvjVq1atlqMgXoae59E70nTpxo1seHH35oK8l0Xbq+Pn36RJUqVbLV3NG8a9/Zvn27rSQ75ZRTzHzoefvQ2tC9aX3l2rZt28z6WLFiha0UHu03mkeffTgUmbaFVOljLVy4MHrqqaei119/3Vbc/OQnP4mGDx8etW3b1lZyZ/bs2eYa33nnHVtJpkesFFM1Lj4fGW2mui9F4fvQBqkNSCm7rkJoXjZt2hQ9+eST0YQJE2zFjTZUzeNFF11kK8ny3bwoBfxnP/uZ1wdDz0xrUUONjCslG6sBOfnkk23FzZAhQ6Jhw4Z5pXofPHjQrHvfFN+33nrL3Ne8efNsJVmFChXMfWn4JDYrBVlzP3DgQFtxk6Z50XWVXqOuN9dK9x09B1f62Go+9Lx9aD3pvrS+cu2TTz4x60Op74VK+432He0/xUbNC6nSx8g0BPENN9xwXFKpy7j11lvjJUuW2KPk1vTp0+N+/fplvY7yHplfMvETTzxhz5xbIaRKr1mzJr799tuzXseJxtVXXx2/+eab9ihu8p0qnflQxPPnz7dnd5P59Rnfd999cY0aNbIes7zHiBEj4uXLl9uz59bUqVPjzKaf9TrKeygZWgnRvtKkSocw2rVrF48bN87eZWFasGCBeWeyXX+hjL59+8bTpk2zV1xcSJUGAADBoXkBAABBoXkBAABBoXkBAABBoXkBAABBoXkBAABBoXkBAABBoXkBAABBoXkBAABBoXkBAABBIdvoGMoIUXbNjBkzbMXN5ZdfbnJJWrRoYSvJFOJWmjHi49VXX43GjBkTvfHGG7aS7NjMFZ8wNmWM6L4uu+wyW3GjbCOdyyfbSBkomnvlhXz77be2mqxr164mB6Vfv362kjsK61OWzJ///GdbcaNsEV2jT7aRsmD+8Y9/mDnxCbVLS9lGyg3yzTbSNfpmG6U1YsSI6I477jAhkq5Ks418Aknl/fffj1566SWvEE5tpTrPrl27osOHD9tqspKSEpPPNXToUFtx83/JNlKIbD6yjdJo2rSp2XeuuuoqW8mdk0466eje6JNH9cEHH5i5f/rpp23FTe3atc25qlataivJlEdXuoZ9Ptd9+/Y16+rqq6+2leKRmQeCGY+VNlVai2rHjh0mTM9VvXr1zEfNNzQrTfOiF1TnUZKsAhNdHThwwNyXb6hdmlRpneujjz4y8+8T4qaNTsmpp59+uq3kTtrmJU2qtD5+mgsNn2YurXymSqeVpnlJmypds2ZNk6peo0YNW0mmOVCCss63Z88eW02Wz+Yl36nSaWgfVWOsJjDX9CNSc6E50TN3lbZ5ueCCC8z5mjVrZivJlGZfuq58muJib14IZiwH48ePjzt06HA0EMtltGzZMh49erQ9grs0wYyZTSq+8847402bNtmjuMl8lOLhw4dnPeaJxuDBg+N58+bZoxSPtMGMjPIZaYIZV61aFY8cOTLr8U40BgwYEGc+FvYobjLNXPzHP/4xbtSoUdZjljXyGcyoa3vwwQfNtRaqFStWmGed7frLeyhUVOGiChn1kTaYcdiwYfGiRYvsUdxs2bIlvvvuu+MqVapkPWZZg2BGAACAAkLzAgAAgkLzAgAAgkLzAgAAgkLzAgAAgkLzAgAAgkLzAgAAgkLzAgAAgkLzAgAAgkLzAgAAgkLzAgAAglKUwYwK9luzZo0ZPiF/Ckts06ZN1KRJE1tx8/jjj5uQrqVLl9pKsoYNG0bXXnttdM0119iKm4ULF0Yvv/yyCTF0pQA2BXRp+ASCrVu3zpzrrbfeshU3Ckns2LGjuUdXVapUMX9OwycwTsGRes4K1cw1he19+umnXs85rSNHjhxdw/v377fV4qDAQz1n3/fsrLPOMutKybyutm7datbw9OnTbcWNUrb1vvgEpypQcNq0aeZ8PinWmgvtBZdeeqmtuEkTzKhEY92bhkIJC5GCCPWeLVu2zFbcaA/Q+6I9wZXSnUvnw2ddKfBT1+gb4qv1pGfdunVrW0mmgEqtKQ2fANRzzjnH3Fe3bt1spXhk2pbiTJX+5ptvohdffNEMn0RebYw33HBDdMkll9iKmzTNS7Vq1UzKcPPmzW3FjV7MTZs2mdRVV2mbF82jzuXbGCxZsiR6//33o82bN9tKMqXdau41qlevbqvJPvnkE/Oc586dayu5o41fqbDnn3++reSONqnJkyebe/PZjEOg9Go95+7du9uKGyX5al35rH0lX2/cuNFrLYo2fd/mRQ2n3hedzydhXmtfe0Hjxo1txU2a5kU/Ekr3HaXNFyL9iNR71rVrV1tx8+6775r3RSnnripWrGjmQ0Nz40qN94UXXmi+GT70jDX3PgnWWktaU1pbWmOu6tata86lHwvFRs1LUaZKZzrV+P77748znfRxKZtJI7OZxi+88II9irs0qdL5HGlTpdN65pln4szmk/VayhqZDSv+wx/+EO/Zs8cexc2cOXPiQYMGZT1meY/Mr6V4zJgx9sy5deDAgfihhx6KM5tk1msJefTq1SueMmWKvVN348aNi9u3b5/1mOU9Ms2Ld6p0vqVJlQ5htGvXzjxrX1pTWlvZjlneI9NYxZMmTbJnRr6RKg0AAIJD8wIAAIJC8wIAAIJC8wIAAIJC8wIAAIJC8wIAAIJC8wIAAIJC8wIAAIJC8wIAAIJC8wIAAIJC83IM5UYoyFFBeD4jjmMTcqa8ItehQDDlavhSHokyOLId80RD+UYVKlSwR3Gj+0ozH5pHnS/bdZQ1NB9y4MCBrMcsaygDSPOY7ZjlPXSNPqGRKF+aez2DbM+mvIfWlNZWtjV3oqE/o/cmH3SNafaCfA7ti2n2nTRzf/jwYe99RyPN3piWrlFZRdmuv6yhPVHzgeMVZTCjEl0VWDZ69GiTUOqqZcuWUY8ePbzDtrQYtcB8QrN2794dLViwwITN+VDqtQLLfFJJ1fAoBE/35pOcun37dnONH3/8sa24UcOj+dCL6kqbhz5MpU2MK51D5/JJD09LQWeaw4svvthWckdrSmtYIx+J2fnUq1cvE3o4cOBAW3Ezb948E76nRN9cK22UfJpV/bN6N5Xie/LJJ9tq7ixatCh65513oi1btthK4VEKvvY4JSO7atCggdmvFHzoI82+oz9Tug/7hPjqOWsNDxkyxFbcKIla5/viiy9sJZlCHEvXVZofvMUo07YUZ6p02uZFvxJq1KhhunEfgwYNioYOHWqi7V0pIXT8+PFm+Ojbt2/0q1/9ynwAfOi+tKH6JMkqJVvX9+yzz9qKmyuvvNK81J06dbKVZGrmJk2aZIbPJlJSUhLdfPPNZl5yTRuH5lEj12hevk8J0Xv37vX6OKU1a9Yssxb1oXGlZkfvpkbDhg1tNXf0q1zvSj4a97SeeOIJk7q/du1aW0mW9j1TArj24S5duthKMq2p0n3YJ709bfPy/PPPR3/9619N8r6rRo0aRbfeemt02223mW8U/rd50b8UnbSp0mlHZmHFmcVoz+5m3bp1cWbxZz3eiUb//v3jGTNm2KPk1uLFi+Phw4dnvY4TjcGDB8eZX8n2KG4yG0c8atSoOPMrI+sxyxo9e/aMJ0+ebI9SPDK/IEmV/i+aOnVqnPkYZr3+skbmR098zz33xFu3brVHwdixY+O2bdtmna/yHplmOM40nfbMbjLNcPzAAw/EmWYz6zHLGpnmJVWq9FNPPRV37tw56zHLGtoD/t//+39mT8D/IlUaAAAEh+YFAAAEheYFAAAEheYFAAAEheYFAAAEheYFAAAEheYFAAAEheYFAAAEheYFAAAEheYFAAAEhWyjYyj759RTTzUBfD6uu+666KabbvLKNlJezTPPPGOGD+UF/ehHP4o6dOhgK8kUeqj70vDJxli5cqW5vpdfftlW3Fx++eVmPnwCLvWcnn76aTOUN+LqvPPOM+fq06ePrRQH5dWUrg+fIEJl3Wzbti3auXOnrRSetNlGCgrVUKZPrs2ZM8esRZ/gVGWi6b40lEeTa3rGetY+WWBp1apVy+wfp5xyiq24eeSRR6IxY8ZEq1atspVkyojSuXzzoS699FKTNaS8M1eaO30ndI1aW67SZhu98sorZl2tWLHCVpJpzrXnX3bZZV7BjGmfWQgybQvBjMdq166d+fAqvdOH/pyaCZ9FooA5BR8uW7bMVtwoPGzDhg1eHyeFMeq+NHwaMyXB6vp8Nh5R4vVZZ51l0mFdKQ1W59LwCZrTR0LnatGiha0UByWUl86Hz8dJa2PGjBkmbbhQpW1e3nrrreiNN96Itm7daiu5s3HjRjP3PufKd/OihG096/Xr19tK7ugd0/6hHws+0jQvmrsrrrjC+weJ9gBdp8/c57t5Wb16tVlXPvu3Qlr1Xmv4fK71TdIz69y5s60UDzUvBDMeM7p37x6/8MIL9iiFafr06XG/fv2yXn9Zo1KlSvGdd94Zb9q0yR4FxWrRokXxsGHDsq6DQhlpgxnHjRsXt2/fPusxC2HkO5hxwoQJcUlJSdZrKe+hkEqFVfpKE8yY+TFonnU+5DuYMY0tW7bEd999d1ylSpWs11LW6Nu3bzxt2jR7lOJCMCMAAAgOzQsAAAgKzQsAAAgKzQsAAAgKzQsAAAgKzQsAAAgKzQsAAAgKzQsAAAgKzQsAAAgKzQsAAAgKzQsAAAhKUQYzKmzrtddei15//XWvhOL27dubQLDzzz/fVnJHwYyfffaZGT4UHrZu3TqvpGEFM+q+rrzySq9gRgVc6voUJpZrSpI988wzzahUqZKtFofNmzebefQJ+dMzK52P6tWr22oyhfRp3c+dO9dW3KxduzZavny5Cf7MNd2T1mKXLl1sxY2C6bT29e642rNnj5l7nxTftJTYXvqe1a5d21aT1atXz8yJAk19TJw40QTQfvjhh7aSTOGRpevKJ6FY16jrU0qxj3//+99mPX7xxRe2kqxx48ZmHpWk7KN58+bmvnyuMW0wo+ZCz/niiy+2ldzRPqw51Dh06JCtJuvbt68Jj7z66qttpXhk2pbiTJU+fPiweVk09J9d1axZ0ySS+nzg0/r888+jf/7zn2b46Nixo0lbVXqqqwoVKpj70tAG62rlypXm+qZNm2YruaPN/qabbooGDx4c1ahRw1aLgxKen3nmmWjBggW2kkzP6cYbbzRz4pPOrc1Y6963CdHGqGetpPNcU1S/1mKdOnVsxc0ll1xiNmSfj9OmTZvMfT3//PO2kjtqOHVtvu/ZGWecYZ5z//79bcVNmuZFTYjeMZ2vSpUqtppMzZ9SvT/++GNbcbNt2zazHpUa70o/ZDSHvo2S0sp1XyUlJbaSLG3zcvLJJ5vrq1+/vq3kjlL2S79nPp/rYm9eijJVOgSZX5BxZmEdTQB1HZkNLp4xY4Y9Sm4tXrw4Hj58eNbrKO+R2VTjP/zhD3Hml7I9e/FQsqsSXrPdd1lDCbJ33XWXSZTNByXkduvWLeu1FMoYMWJEvHz5cnvFblatWhWPHDky6/EKZSgZWgnRvtKkSmeagvjBBx+M9+3bZ4/iZubMmfGAAQOyHrNQxsCBA+NZs2bZK3aTNlU6hEGqNAAAQAGheQEAAEGheQEAAEGheQEAAEGheQEAAEGheQEAAEGheQEAAEGheQEAAEGheQEAAEGheQEAAEEpymyjtJQhoSBHnxwOUdiZ8nh8gs6UufLYY49F48ePtxU3Civ71a9+FV166aW24kb3pRyPI0eO2Eoy5ZlMmDAhmjJliq3kjnJufv3rX0e33XabyQ0pRMrJ0jz6hH3K7NmzzTzOmzfPVpIpG2fo0KHRLbfcEjVs2NBWc2fy5MnRX//61+ijjz6yldzRvSlsUhk2PpT1pDlp1aqVrSTbuHGjmXtlS/n47rvvzPuiPcGVMsR0XxrKOXLVoUMH85yvueYaW3HzwgsvmGfmkzektaT9Q++az/zPnz/fzOPbb79tK4VHWT6ax65du9pKMr3LmkMNnzwwhcfqOWvv97F//35zTp+ARa2l0nWlNeaqZ8+e5jlfdtlltlI8Mm1LcQYzpqVE3v/85z/RkiVLbMWNXhali/oEie3evdtsCBo+2rZtG3Xr1i06/fTTbSWZGhbd17vvvmtSdl3pRdGHxqcpS0svptK8NXwC4/Jp165dZg59mhDR5qN59PmgiTY4n4/n/8Wnn35q1qICQ3NNibx6X3zCRUXzoeGzZWkN60Pjm1SuJGq9M2vWrLGVZDqH7qt79+5eDbjuR8/ZJ0RWPvnkE/PMfNLKdV2l75nPnGjt6p/Px16QluZP68PnB5rmvXQfVrPqqlmzZuZZn3vuubbiZtGiRWZd+bxnCjLVuTR85l/vmZ6zvhnFhubl/0cfpbFjx0YvvfSSrbgZPnx4NHLkSBPH7qp0w/LpwEWL13cT0TnGjRsXPfLII9GWLVtsNZl+EapzVwptrpV+ZHzSePNt3bp1Zg7/8pe/2Iqbfv36mXnULyFXWhv6Nai/nVOabK6VNgY+G39aPXr0MO+L7980PPnkk2ZOVq9ebSvJ9Lc0mvtf/OIXtuJm+vTp5lnPmTPHVpLpV/hvf/tbc28+P2T0Nyd6zvqbFB9pnlna90zPTH8resUVV9hK4XnttdfMPKo58FG6D/t8CpVcref805/+1FbcPP3002Zd+fxtWePGjY+uK58fdmm+FaFQ88L/5uUY6txL/7rYZ+jP+G762kS0EPVfN/kM/VVvmsWoF7T0vzpyHbov/eLKdh3lPfQ3L4XcuEhpw5ltrk40tDFqE8l232UNzYfor5mzHbO8R5o1nJbWr9Zxtvs+0dA7o/9KN9v1lzX0z+vPZTveiUba90xrWM8u2zHLGtoHNPfZrv9EI80zS7uG9Wd813C+h55X2nvzaVxE+2Ka/Vt/xvdvYLV+ta6yHe9EI+0aDgXNCwAACArNCwAACArNCwAACArNCwAACArNCwAACArNCwAACArNCwAACArNCwAACArNCwAACArNCwAACArZRsdQ6N6f/vSn6MUXX7QVN1dffXX0k5/8JGrZsqWt5E69evVMKFjdunVtJZn+7+l1XxqbN2+21WRt2rSJfvzjH0dXXnmlrfywKUxN+TNKYPZx0UUXmfWhPBRXiqp47733TE6LT5hmPun/Vl3rSQnpPv839Z07dzbrSnk5PhSep/nwSf/V+6JAuwsuuMBW3Ggv0LNWkJ4rZRv97ne/M6NRo0a2mkzp7TrXG2+8YSu5o0gBPTMNn2fWu3dvc18DBgywFTfKUtO5fJLYFa+gPa5p06a24uadd96Jnn/++Wjx4sW2kjtnnHGGWcO+ic2vv/66edarVq2ylWQKZtQe4hvMqKT+0047zbwDxSbTthDMeKy0zYvC3/Shr127tq3kjj6Aapb0AXCVtnnR/SiRNB9NWQj27t1rQgF9ggFFwWqax4YNG9pKMuWfKHVZozTnqNB8/fXX0SuvvBJNmzbNZAi5atCggXlffD9O7du3N/Ph855988030dKlS6Ply5fbihs1qvrAfPnll7aSLG3z8tVXX5k1tWHDBlvJHaXZ63lpqPl0lbZ5efXVV80a8Um+btKkiQnt9A2BTPPM0tKPR63h5s2b24obPWNdo56DKzV+y5YtM8On4ezUqZOZx65du9pK8VDzon+Blenc4xtuuEHNXMGO/v37xzNmzLBX7CazScUPP/xwnPk1k/WYjMIbVapUie+6664488vVPsXCs23btvi+++6La9SokfUeynuMGDEizjQh9uxuMh+KeOTIkVmPV94j07zE99xzT5z5UNuzFx5d27333muuNds9lDUyzUs8depUexR3Y8eOjTONe9ZjljXatWsXjxs3zh4B2gPuvvtusydkm6+yRt++feNMk2qPUlwyTdyD/G9eAABAUGheAABAUGheAABAUGheAABAUGheAABAUGheAABAUGheAABAUGheAABAUGheAABAUGheAABAUGheAABAUIoymFHJqR9//LEZ+s+uFLy3fft2r9CsfFPCqAL+9O+uFOY1c+bM6K233jIhcK7q169vwr3OPPNMW3Gj4DHN/bZt22wlWdWqVaNzzjnHjMqVK9tqYVEQ4SeffGJGrlWpUuVoyJ+C6lwpcVlz7xtE2K5dOzP3PuGRelfGjBkTjR49Ovr2229tNZnuR+dq3bq1rbjRetT1aa240vuv6/QN61u3bp2ZR6Uiu9K67dOnT9S3b1+v9zOfFNKq+dDw2foViqn70nPz8cgjj5g1oj3B1amnnmrOdckll9iKG60nXZ/P+6L50HPWO+2TfJ2W0qh1jVrLrhQ4Wfqe+XzPNIfaPxTkW2wya7c4U6X1kfnHP/5hhlJlXSmxVqmpih4vVAsXLoxefvnl6KOPPrKVZHrEu3btMkMvqyu9aMOGDYsGDRpkK26mT59u5l6bgqtTTjkl+tnPfmbOV6NGDVstLJs2bTL3NXHiRFvJnbTNi5JndY0vvfSSrbhR+uwtt9ximlVXaZuXbt26mWetzdXHa6+9Zta+T0OhRG+901dddZWtuFGzr3l8//33bSVZhQoVTNqwRqVKlWy1sNSpU8c862uvvdbrR4LeSd1XzZo1bcVNmuZFa1/n0rX60HrSutL6crV///7oqaeeiiZMmBDt3LnTVnNn4MCBZo/Tt8YVzcv3qXkpylTpzEc6vv/+++PatWsfTdh0Gd27d49feOEFe5TClGkM4n79+mW9/vIemV8I8RNPPGHP7O6ZZ56JL7jggqzHLGvUq1cv/sMf/hDv2bPHHqXwrFmzJr799tuzXn95j7Sp0osWLYozm2PWY55oDBkyJJ4/f749ipu0qdK9evWKp0yZYo/iTknD7du3z3rMskabNm1MsrEvJSgrSTnbMUMejRo1ih988MF437599k5zK02qdNqRaQziWbNm2TO72bt3b/zAAw/EDRs2zHrM8h56N/WO+iBV+vtIlQYAAMGheQEAAEGheQEAAEGheQEAAEGheQEAAEGheQEAAEGheQEAAEGheQEAAEGheQEAAEGheQEAAEEp2myjJ598MnriiSe8so26dOkSDR8+PLryyittxc2ePXtMmKNP7oSyT5Tno+Fj1qxZ5t7eeecdW0mmR6w50TX6ZBspkFHzccMNN9iKm7fffjv617/+FX322We2kkzz8POf/9wMn2wjZZPovhSqmWtbt26NJk+e7J0blIZyZzT3Ggqqc6VsI617zb8PBQoqw0p5Vq407zqP5uTAgQO2muz88883z/myyy6zFTePPvqoyXhZsWKFrSRr0aKFOdfQoUNtxc17771n7mvx4sW2Uni0t+kZ+Mx9gwYNjq4rn4DLtJQDpv1q/fr1tpJMa1/7Qe3atW3FjTLprr/+eq/wSIUx6vo0fLKNNHe6Rt+sJ71jWo9kG/3fZL5pxRnMqJdZwYWLFi3yethNmzaNOnfuHLVt29ZW3Gij0wf7iy++sJVkCh679NJLzfChtFvd24YNG2wlmVKlZ8+eba5Rm50rbXSajw4dOtiKG73QClXz2RyrVatmznXeeed5BcatXr3aNHQ+IZBpqeHUffk2nGlUrFjRzIfGySefbKvJFJao9aEmxoc+hEoc9/kQ6ho1F5oThRK6atasmXnOp59+uq24SdO86Po0h+eee66tuFEDrfuqXr26rRSeDz74wLzTCgx1pfsqXVf5CI9U86f16LPvKDlc+2KPHj1sxY1+wGgN6weNq4MHD5rr0/BJlVZTrGvUD14falo09z7p7TQv36fmpSiDGfNt/PjxceYDf1woVtJo2bJlnFmM9gi5lXlB44cffjjOfDSyXkt5j8GDB8fz5s2zZ8+tOXPmxJlfM1mvo7xH69at48wmYs9cXCZNmhR369Yt632XNRRmp1A7hdvlQ5pgxrRjwIAB8cyZM+2ZC9OECRPikpKSrNcf8mjXrp151r4U9qnQz2zHLO/RtWtX887kA8GM30cwIwAACA7NCwAACArNCwAACArNCwAACArNCwAACArNCwAACArNCwAACArNCwAACArNCwAACArNCwAACArNCwAACEpRBjMqbGvt2rVm+KQop6UQPAWQ7dq1y1aSKSn42muvNcPHtm3bTDijAvhc6RHr+hRemI/05UsuucTcl09CcVpz586N/vSnP3mnKCtYrXXr1l6psLVq1TIBf506dbKVwqMkXt3XaaedZituFG45derUaOXKlbaSTOfScx44cGBeEorTBDMqiFDz0apVK1txc8EFF5h780koTkuhhdqrNm/ebCtuNA96r7/88ktbyZ0dO3aYa/QJn01LAblaU/3797cVN7o+7XFbtmyxlWSHDx8++q3wCT3s2rWrCT0cMmSIreSO0q5ffvllk2bv8z3TXqU1rBT3YpP5phVnqrQSckuj+r/99ltbzR0tkm7dukX169e3lWRKUdYHVMPH/Pnzzb0tXLjQVpKddNJJ5mXTNfpGuKfRuHHjqHnz5nlJX07bvFx11VUmPl/X6UofmQULFnjNfb61adPG3Ndll11mK262bt1qksq//vprW0lWpUoVM39aw0qYzrU0zYs+hIMGDfL+kaDUX92X0t9zTQ2j1u+bb75pK27OPvts8043atTIVnJHTZL2UyXo55oaTs29bwPerl07Mx8+77RS1HVfmn+f5Ot8Ni+6xo0bN5r388iRI7aarF69emYeGzRoYCvFQ81LUaZK79q1K77//vvjzC/D41I2czVuvfXWeMmSJfbsuTV9+vS4X79+Wa+jrFGpUqX4zjvvjDdt2mSPUjzSpkrfdttt8bJly+xR3KxZsya+/fbbsx6vUEbnzp3jp556yl5xcUmTKp1p5uKxY8faIxSmTDMcDx06NOv1n2joz+jP5oMStpW0ne06CmUMHDgwnjVrlr1iN0pEVzK6EtKzHbOskc9UaXwfqdIAACA4NC8AACAoNC8AACAoNC8AACAoNC8AACAoNC8AACAoNC8AACAoNC8AACAoNC8AACAoNC8AACAoRdu8KM+ncuXKeRnKdalQoYI9s5s4jk0omEIkfYayLdLcmyjUK9sxQx6aD819tns+0UjzzPTP53td+Uq7rvRn9Gd9pTmX1qFPRkspzX2lSpWOm6OkoX8+H7lL/xdaV7rGbNd/oqE/l2b+0wydJ80zyyddX5o9rtDvC9kVZTDjvn37TGCfhkKtck2pnT179vQKSFMA3gcffOAd8qfkU92fTwKqVK9e3QSe6QNQTLT5aD58n7NSg/XMlO7tSumuWlPvvvuureSOPhZaG1ojPkngCiLUfXXp0sVW3HTo0MH8GYVqulLoqa5RQ8/BlYLzFGzXtm1bW3GjUEDNv0+KssLplHJ+8cUX20rhUZq07uvDDz+0FTcKd9V7rQYt11avXm2ucenSpbZSeBRUqbV/+umn20oyrVvdl4bPe5bPYEZ8X6ZtKc5UaXXSWoga+eiq1RQordlnE9m0aVP0+OOPR3/7299sxU337t2jwYMHm4+vK30I//nPf0bPPPNMtH37dlstDp07d45uuummqHfv3rbi5uSTTzbD55lpHpVY7rPJpaVNVWtj/Pjx0bZt22w1mX6R6760Jn1cd9110a233moS0l3t2LHDXKPWsRpIVxdeeKE51xVXXGErbkrfaf26dqXnW/qsC5Wete7LNwH/1VdfNe/1Z599Ziu5ox8Husb9+/fbSuFRM6d9WGnnrvT5K32nfb4VNC//XWpe9C/4L1i3bl2cWfxHU0pdR//+/eMZM2bYo7jJbI7xww8/HDdr1izrMUMemV9a8eTJk+2dFo/MxyJ+6KGH4iZNmmS97/IemU04nj9/vj27m0xTFd93331xplHKesyyRq9eveIpU6bYoyCtCRMmxCUlJVnnmJHbQar0f1em0SRVGgAAhIXmBQAABIXmBQAABIXmBQAABIXmBQAABIXmBQAABIXmBQAABIXmBQAABIXmBQAABIXmBQAABKUos41C8Pnnn0cTJ06Mnn76aVtx06NHj+jmm2+OLrroIltJpkyeSZMmmeGTk5NPukblLil0zydjpKSkxMxH3759bSV3lJnSoEEDM3wohFP3pQwVV8q70drQGvEJIlRQn66vbt26tuJGwYWXX365V6jdrl27jl6jT+ZNr169TC7MwIEDbSV3FGCq+fOZw3xL+8xeeeUV804vW7bMVpIpF0pzoXfNZ+tXZpCusXbt2rZSePSe6b6UU+RKQbWl77RPzpmCTIcOHRr179/fVtzondH8+2SBpRXCM0srs3aLM5gxBPqQKaF1yZIltuLmtNNOM+mpSg92pWZA59LwebHzSdf1xhtvmOGTEK0kb81Hy5YtbSV3tBH069cv+tGPfmQrbhYvXmzuy+cjo2audH34bHQtWrQw1+iboqymVunGPg2WGhZdn67TJywxn82L7ktzP3PmTFspPFq7l112mfczU9Kz5l8Bma70gf/3v/9t5kQNsqszzzzTrCsFoRaqRYsWmftavny5rSTTDxLdl+a/Vq1atppMe4H2HZ9mX5RIr2vcuHGjreTOWWedZe7NJ2w1FGpeCGZEQchswPGoUaPizK+Fo+FnhTZat24djxkzxl6xu2nTpsV9+/bNeszyHpmPS/zUU0/ZM7tTyFy3bt2yHrO8Rz6DGVetWhWPHDky63UUylC4okIW82Hr1q3xvffeG1erVi3rtZQ1evfuHU+dOtUepTBpTWltZbv+soZCRRUuqpDRfNC7qXc027WU99Ceo72nGBHMCAAAgkPzAgAAgkLzAgAAgkLzAgAAgkLzAgAAgkLzAgAAgkLzAgAAgkLzAgAAgkLzAgAAgkLzAgAAgkLzAgAAglKUwYwKHFM4l4ZP+BjKh4Lm2rdvH9WvX99Wku3cuTP605/+FI0ePdorHDCtNm3aRGeccYZX4mqNGjXMn/MNY/viiy9MiJ4Sb3NNc6+k20suucRW3CgdesyYMdGCBQtsJVnVqlXNHOpZ+yTyKjBO19i1a1dbcbNq1SrzTu/Zs8dWkmnuX3vttWjGjBm24qZZs2bmvhT8mWunnHKKWVfNmze3FTetWrUy8++TRq350HPWe+aTBN67d28TpjlgwABbcbNy5cpoxYoVXs9MAYm6r7Zt29qKm5deesnsIbNnz7aVZFrDV155pVmPPsGMaSmQUXvB7t27bSWZglk1h1r7Pon7StrXM7v66qttpXhk2pbiTJXWi/Lss8+aUagpysVMCa033nijSV11le/m5brrrjPX6JNGrfTeWbNmRXPmzLEVN5qHSy+91HwMc00NVpMmTUzqrY80zUudOnXMHGpUq1bNVpOpYWzcuLHXR1cmT54cPffcc9GGDRtsJZk+0Fu3bjUfbR89e/Y099WlSxdbyZ1NmzaZdeUz96KPrq5RH3pX+W5eXnzxRbMP6x5dqYnTfV1//fW24iZN83LSSSeZtahRuXJlW82d888/3+wFao5dad8p/Z75/Bgv9ualKFOld+3aFd9///1xZpM8LmWTkZ8xePDgeN68efZpuMl3qvRtt90WL1u2zJ7dzZo1a+Lbb7896/FONDKbR/zmm2/aoxSmNKnSDRs2jB944IE48wPBHiW3xo0bF2cawKzXUt4j85GOZ86cac+cWwsXLoyHDh2a9TpONPRn9Gd95DtVeuzYsXHbtm2zHrOs0a5dO/OsfaVJlc73GDZsWLxo0SJ7xW62bNkS33333XGVKlWyHrOsQao0AABAAaF5AQAAQaF5AQAAQaF5AQAAQaF5AQAAQaF5AQAAQaF5AQAAQaF5AQAAQaF5AQAAQaF5AQAAQaF5OYbC5WrWrBnVq1ePkRkKjFNwWT5UqFAhql69usm7yXYt5T0qVqxoMpSUqeQ6FKbmkwdT6rvvvjN5W9mOWShDGWCHDh2yV+xGIXEKjdu1a1fWY5Y1vv76azMnvpSfpDWZ7XmWNfTP++QulUrzzDQP3377rVd4nmjfOfnkk7Ne/4mGsnj03LJdS1njq6++Ms8szlOkXT6fWT6l/VboOfuEmKJsRRnMqBe0NORPG6WrFi1aRBdddFHUoUMHW/lhU4jbe++9Fy1atMhW3AwePDi64447ogsuuMBWkmlDff/996N58+al+rD50rL3/cjo46RrnD9/vq24adeuXXThhRdGrVu3tpXC88knn5h727Jli60kUwiknrHuzSfUTmGYF198cXTmmWfaipsPPvjAXKOC6lzpmWkN68/5UIim7kvJza70UdKf0R6iD5urzz//3Fzfxx9/bCtu0qxhNew6l4ZPs5o2mFFhkzqXGidXSqPXuvJNHU8TzJhW06ZNzXM+55xzbMXNueeea+5NQZCutD5KwzR99kZSpQOUtnnRxvPb3/42uvbaa23lh23JkiXRuHHjokmTJtmKmzTNi5ahXkylpuZjSeqeHn/88WjVqlW2kkwfCl2fb3Olj1qVKlXM3/YUKt2XxuHDh20lmf62TPelxkX/2VWPHj2iESNGeG+qpXPv88Feu3atWcPjx4+3FTdpnpn+tuA3v/mN2UNOPfVUW02mOS+dfx9K2dYaVuPpqvQ9813DaZuXNM9MSc+l68pHPpuX8847zzznn/zkJ7biRveke9M9uqJ5+b7MOiZV+tjRvXv3+IUXXrBHweLFi+Phw4dnnasTjTSp0vn22GOPxZlf/lmvn5HboeRfJQDnQ6Y5jUeOHJn1Osp7ZJqX+J577jHJzfkwYcKEuKSkJOu1lPdImyqdT/lMle7atatJYs8HUqW/L9MMkyoNAADCQvMCAACCQvMCAACCQvMCAACCQvMCAACCQvMCAACCQvMCAACCQvMCAACCQvMCAACCQvMCAACCQrbRMbp3726yIG644QZbcaMAQwXaKVG2ECl3RkFiGsrVcKWgOM3jk08+aStu0mQb5dvUqVOj5557LtqwYYOt5I5C6bQ+lEqda0qt1XP2ydaR7du3m2tUcF+u9erVy7xnAwcOtBU3W7duNdeoEE9XCnF85513ov/85z+24ibNM1O2ke5Lo1GjRraaOxMnTjTv54cffmgruVNSUmJyfJRLVajmzp1r3umPPvrIVpIpY6h0b/TJUlKoqOajX79+tuJm27ZtZl0pDdyV1vDzzz9vhk/+FcGMAcp38/Lmm29G06dPjzZt2mQrhUUv6FVXXWUWsWLZXRVz87JmzZpo5cqV0Z49e2wldxYuXGjWh0+AXlpKQdZzVoPgQxu/rnH16tW2kjtpm5cZM2aYa1RQnSulOyshWsnePpRgrXN9+umntpKsmJuXhg0bmjnUR75QqSnQO61G3FXVqlXN3qhRu3ZtW01Wt25dMx8tWrSwFTezZs0y62rdunW2kmz//v3mvjR8Ai4JZgxQvoMZx48fH3fo0CHrMQthVKpUKb7zzjvjTHNlr9hNMQcz5pPC0RSSlm2uynt07tw5fuqpp+yZ3Slkrlu3blmPWd4jbTDjuHHj4kwjkvWYZY02bdrEY8eOtUdwpxBChRFmO2ZZo5iDGYt11KhRI77vvvvibdu22VnNLb2bekezXUt5D4IZAQAACgjNCwAACArNCwAACArNCwAACArNCwAACArNCwAACArNCwAACArNCwAACArNCwAACArNCwAACArNCwAACArBjMdIG8z4+OOPm/MtXbrUVgpLpUqVjgbGNWvWzFaThRDMqKRhheetXbvWVnKnVq1aUadOnaKzzz7bVty88sorZh7feustW8mdzp07m+c8bNgwW3Hz9NNPR2PGjIkWLFhgK7mjoMQf/ehH5lp9KNROc6gUd1cKFNS5evfubStuFi9ebAJXly9fbivJ8h3MOG/ePHON+UhGV+ih3rP169fbipsOHTpEHTt2jE455RRbSaYkb50rH/upUva1PjQU4ulK60r31bZtW1tx849//MPsBT7J12mRKh0gmpfjFXPzosTmCRMmmE081zR3t9xyS3TzzTfbihual+PVqFEjql+/vmkGfezatSvasWNH9N1339lKMn2clKTuk6YuShvfuXNntHfvXltJlu/mRR95zYdSh3Nt/vz55j17++23bcXNTTfdFA0dOtQrfVkNks717LPP2kruKHG/dH1on3SlHzDaC3wbA5qX8qHmhVTpYwap0scLIVV6zpw58aBBg7JeR3mP1q1bx5kPvD2zO1Klfxgj36nS+TRz5sx4wIABWe/7RGPkyJHxypUr7VHcrFixIh4xYkTW4xXK6Nq1q3lnfJEqXT5IlQYAAMGheQEAAEGheQEAAEGheQEAAEGheQEAAEGheQEAAEGheQEAAEGheQEAAEGheQEAAEGheQEAAEGheUFBOHLkiMlq2bRpkwmacx36M8rKUXaKz1CWSeXKle3Z3Rw6dMjk62S7jhONb775Jqpdu3bW6yhrNG/ePKpTp05UsWJFe3Y3yv1RJk+26zjR8M0MKnbVq1ePTj311KzPpqyhZ6YAwjTPTPOf7bmcaPDM/nvSPjO9mzyz8kEw4zEIZjxePoMZv/3222j27Nlm+LzcVatWNQF/+tj4eO+998y5tm3bZivJ9GE677zzzPChwD41L7pWV4cPH47mzJljrtFnDSvttqSkxKT5+vjss8+iDz/80CuxuZgpeK9Xr15eqcF6z7Q2NP9qqF2pYddzVsiojy5duphrPO2002wldxTIqL3g5ZdfthU3I0eONHuBzzyuXLnSnOvRRx+1lcKj4E095zPPPNNW3Ogbofds+/bttpI7BDMGiGDG40cIwYyZXzHxqFGj4po1a2Y9ZlmjZ8+e8eTJk+1R3D322GNxZuPJeszyHpnNI37zzTftmd0cOHAgfuihh+ImTZpkPSYjt0MhhAojzIdM0xIPHTo063WcaOjP6M/mA8GM4Q2CGQEAAAoIzQsAAAgKzQsAAAgKzQsAAAgKzQsAAAgKzQsAAAgKzQsAAAgKzQsAAAgKzQsAAAgKzQsAAAgKzQsAAAgKwYzHSBvM+Prrr0dTpkwxqaGFSCm3AwcOjK677rqofv36tposn8GMe/bsMXOosX//fltNpgA93ZeenY9XX33VnEuheLl2/vnnm2vs3LmzrSRTOKXmXuPzzz+31dxp0qRJ1KpVKxM+Waj0fq1fvz7au3evreTOgAEDzF7Qu3dvW8kdBfXpOU+cONFW3Ch4T++1T+hhWnpPFi1aFK1Zs8ZW3Jx77rkmrNJnXW3ZssW8m6+88oqtFB7dT8uWLaOmTZvaSuHRfqN9R/tPscm0LX+keTlG2uZFL7Y21W+++cZWCkuFChXMi6aPk0+ycT6bl4MHD5o51Dh06JCtJqtbt665N6W8+tAzW7duXV4+hEp61jX6NI75bl769OljPoTt27e3lcKjj5k+aps3b7aV3AmhedGHU+tKieW51rx5c5OifPrpp9uKm48++sg0PdqTXSlhXu/mxo0bbaXwtGvXLho0aFBe1kda2m+0PrT/FBs1L6RKHzPSpkoXq3ymSuN4+U6VHjJkSDx//nx79sI0bty4ONNcZb3+8h4hpErnc2Q+0vHUqVPtFbsbO3Zs3LZt26zHDHl07do1njRpkr1L5Bup0gAAIDg0LwAAICg0LwAAICg0LwAAICg0LwAAICg0LwAAICg0LwAAICg0LwAAICg0LwAAICg0LwAAICg0L8eI49iMI0eOMDKjdD7yJe3c5/Ma80mZVCeddJL30J/Ll3w+s7TzkWZImntLe1/5vLc060P3la/5wPelnftinn+CGY/RunXr6JJLLonOOeccW/lhUyDgnDlzovnz59uKmzTBjEqSVkCdhkIJXZ122mkmMC4fybr5dPjwYTP3s2fPNonbrrZt22bmcOnSpbbiZsiQIeaZdevWzVaS7du37+gzU7CmKz2zLl26RG3atLEVN++++240d+7caPv27baSO9WqVYtq1qzpFWRaqVIlsxY1atSoYavJFBKqZ71w4UJbyR0FkSooUc/MJwBV75f2RqW4+9Az0719+eWXtlIcunbtaoI79d7kmp5Z6XumfcFVixYtUoVphiDTtpAqfSxtVNqwfDaeYqYPkj6cvsnLaZoXPbO//e1vZihV1pXi3n/5y19GV1xxha0UB72WSinX/PtsWGpaNIcvvviirbhJ07zs2LEjeuKJJ8z51Mi4uvDCC6Nf/OIX0eWXX24rbkrnw+ejm9Y777wTPffcc+aD4Ur7h+5L67FBgwa2mkzNuu4tHwnnaiL+/ve/m2d24MABW02me6tVq1ZUvXp1W3GTz2eWT/lsXvSDpPSZ+fxI6N69u1mLffv2tZXioeZF/1J00qZKM8pnpEmVznwI41GjRsWZ5jHrMcsaPXv2jCdPnmyPgsyv6njYsGFZ5+pEI02qdGZTje+777440+xnPWZZo1evXvGUKVPsUQqTEpSVpJzt+ssa1apVi++5555469at9iiFR9d27733mmvNdg8Mt5HPVOktW7bEd999d1ylSpWs11LWyDQt8bRp0+xRissRUqUBAEBoaF4AAEBQaF4AAEBQaF4AAEBQaF4AAEBQaF4AAEBQaF4AAEBQaF4AAEBQaF4AAEBQaF4AAEBQijLbSFkaEyZMMCMfeSE4Xv/+/aObb77ZK+By9+7d5nlNnDjRK9tIwWO33HJL9KMf/chWftg+++wzM4dTp061FTdXXXVVNHTo0Khjx462kmzXrl3mXHpuCtZ0pVwYPbM+ffrYSuF5++23zb35hJJWqVLFzKHurX79+rZaWJRHVfrMfAJQcTwFVOo5673JNQWR6plp+GQbKVtO19irVy9bKR6ZtqU4gxn1Un766adm8ILmn9KC9RFs2LChrSRTSFzpM/N5QRs3bmzO1apVK1v5YdPHSXO4cuVKW3Gj1GBtyD7PTA1L6TPzCd5r0qSJeWYtW7a0lcKzYcMGc19btmyxlWRKldYc6t58AwzzRQGauq8lS5YUXVhiPuk90XP2TUZPQz/m9Lz03HxCWps2bWquUenSxaZomxcAAFCc1Lzwv3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oXkBAABBqXDkyJE59j8DAAAUtAoVKkz6/wB8v1fPGI4D9gAAAABJRU5ErkJggg=="/>
          <p:cNvSpPr>
            <a:spLocks noChangeAspect="1" noChangeArrowheads="1"/>
          </p:cNvSpPr>
          <p:nvPr/>
        </p:nvSpPr>
        <p:spPr bwMode="auto">
          <a:xfrm>
            <a:off x="10311636" y="1877990"/>
            <a:ext cx="5324475" cy="532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244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31" y="5131806"/>
            <a:ext cx="7110201" cy="5143500"/>
          </a:xfrm>
          <a:prstGeom prst="rect">
            <a:avLst/>
          </a:prstGeom>
        </p:spPr>
      </p:pic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1F14EFDA-99D2-4A8D-B6D3-BF0ED9043A0E}"/>
              </a:ext>
            </a:extLst>
          </p:cNvPr>
          <p:cNvSpPr/>
          <p:nvPr/>
        </p:nvSpPr>
        <p:spPr>
          <a:xfrm>
            <a:off x="12353859" y="5785615"/>
            <a:ext cx="1704514" cy="960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sz="5400" b="1" cap="all" dirty="0">
                <a:solidFill>
                  <a:srgbClr val="565760"/>
                </a:solidFill>
                <a:latin typeface="Century Gothic" panose="020B0502020202020204" pitchFamily="34" charset="0"/>
              </a:rPr>
              <a:t>5</a:t>
            </a:r>
            <a:endParaRPr lang="en-US" sz="4800" b="1" cap="all" dirty="0">
              <a:solidFill>
                <a:srgbClr val="565760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9119842-F10E-4FB0-BBBF-1E238536BFD1}"/>
              </a:ext>
            </a:extLst>
          </p:cNvPr>
          <p:cNvSpPr txBox="1"/>
          <p:nvPr/>
        </p:nvSpPr>
        <p:spPr>
          <a:xfrm>
            <a:off x="12677048" y="6700015"/>
            <a:ext cx="16466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COUNTRIES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26E451CE-490E-4260-B67C-430C4427229B}"/>
              </a:ext>
            </a:extLst>
          </p:cNvPr>
          <p:cNvSpPr/>
          <p:nvPr/>
        </p:nvSpPr>
        <p:spPr>
          <a:xfrm>
            <a:off x="14250965" y="7517417"/>
            <a:ext cx="2877062" cy="477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sz="24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SSETS</a:t>
            </a:r>
            <a:endParaRPr lang="en-US" sz="24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2093D1F0-B660-4CCE-9FC8-C68F439F0774}"/>
              </a:ext>
            </a:extLst>
          </p:cNvPr>
          <p:cNvSpPr/>
          <p:nvPr/>
        </p:nvSpPr>
        <p:spPr>
          <a:xfrm>
            <a:off x="16240059" y="5785615"/>
            <a:ext cx="1704514" cy="960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ru-RU" sz="5400" b="1" cap="all" dirty="0">
                <a:solidFill>
                  <a:srgbClr val="565760"/>
                </a:solidFill>
                <a:latin typeface="Century Gothic" panose="020B0502020202020204" pitchFamily="34" charset="0"/>
              </a:rPr>
              <a:t>5</a:t>
            </a:r>
            <a:endParaRPr lang="en-US" sz="5400" b="1" cap="all" dirty="0">
              <a:solidFill>
                <a:srgbClr val="565760"/>
              </a:solidFill>
              <a:latin typeface="Century Gothic" panose="020B0502020202020204" pitchFamily="34" charset="0"/>
            </a:endParaRP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28F06F72-7E9B-4147-807D-5968955BD413}"/>
              </a:ext>
            </a:extLst>
          </p:cNvPr>
          <p:cNvSpPr/>
          <p:nvPr/>
        </p:nvSpPr>
        <p:spPr>
          <a:xfrm>
            <a:off x="14979430" y="6035887"/>
            <a:ext cx="1404000" cy="1404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3504890-EE9A-4BAA-95AB-7431A4B4D402}"/>
              </a:ext>
            </a:extLst>
          </p:cNvPr>
          <p:cNvSpPr txBox="1"/>
          <p:nvPr/>
        </p:nvSpPr>
        <p:spPr>
          <a:xfrm>
            <a:off x="16344373" y="6700015"/>
            <a:ext cx="17908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COMPANIES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1BD89F8E-B007-44DD-9C3B-ADB33D7A2229}"/>
              </a:ext>
            </a:extLst>
          </p:cNvPr>
          <p:cNvSpPr/>
          <p:nvPr/>
        </p:nvSpPr>
        <p:spPr>
          <a:xfrm>
            <a:off x="12446376" y="3370102"/>
            <a:ext cx="2877062" cy="477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sz="24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ENGINEERS</a:t>
            </a:r>
            <a:endParaRPr lang="en-US" sz="24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B85C748D-C565-41A4-A6DB-8C475BB24DA7}"/>
              </a:ext>
            </a:extLst>
          </p:cNvPr>
          <p:cNvSpPr/>
          <p:nvPr/>
        </p:nvSpPr>
        <p:spPr>
          <a:xfrm>
            <a:off x="14526086" y="1888572"/>
            <a:ext cx="1704514" cy="960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sz="5400" b="1" cap="all" dirty="0">
                <a:solidFill>
                  <a:srgbClr val="565760"/>
                </a:solidFill>
                <a:latin typeface="Century Gothic" panose="020B0502020202020204" pitchFamily="34" charset="0"/>
              </a:rPr>
              <a:t>&gt;50</a:t>
            </a:r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81058430-CACC-41B2-962A-ABE9F20655BB}"/>
              </a:ext>
            </a:extLst>
          </p:cNvPr>
          <p:cNvSpPr/>
          <p:nvPr/>
        </p:nvSpPr>
        <p:spPr>
          <a:xfrm>
            <a:off x="13163542" y="1888572"/>
            <a:ext cx="1404000" cy="1404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27EF5B9-C78A-4C27-987C-8F7D6C7FD326}"/>
              </a:ext>
            </a:extLst>
          </p:cNvPr>
          <p:cNvSpPr txBox="1"/>
          <p:nvPr/>
        </p:nvSpPr>
        <p:spPr>
          <a:xfrm>
            <a:off x="14706600" y="2776835"/>
            <a:ext cx="11063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PEOPLE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66263D2-2962-4639-A225-CDB77C84DA98}"/>
              </a:ext>
            </a:extLst>
          </p:cNvPr>
          <p:cNvSpPr txBox="1"/>
          <p:nvPr/>
        </p:nvSpPr>
        <p:spPr>
          <a:xfrm>
            <a:off x="6167289" y="9963150"/>
            <a:ext cx="33574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Century Gothic" panose="020B0502020202020204" pitchFamily="34" charset="0"/>
              </a:rPr>
              <a:t>*</a:t>
            </a:r>
            <a:r>
              <a:rPr lang="en-US" sz="1400" dirty="0" smtClean="0">
                <a:latin typeface="Century Gothic" panose="020B0502020202020204" pitchFamily="34" charset="0"/>
              </a:rPr>
              <a:t> in</a:t>
            </a:r>
            <a:r>
              <a:rPr lang="ru-RU" sz="1400" dirty="0" smtClean="0">
                <a:latin typeface="Century Gothic" panose="020B0502020202020204" pitchFamily="34" charset="0"/>
              </a:rPr>
              <a:t> 2019</a:t>
            </a:r>
            <a:endParaRPr lang="ru-RU" sz="1400" dirty="0">
              <a:latin typeface="Century Gothic" panose="020B0502020202020204" pitchFamily="34" charset="0"/>
            </a:endParaRPr>
          </a:p>
        </p:txBody>
      </p:sp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566C0F4E-24A0-46D0-95C0-69155C57DFD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6105" y="2023035"/>
            <a:ext cx="1058873" cy="1058873"/>
          </a:xfrm>
          <a:prstGeom prst="rect">
            <a:avLst/>
          </a:prstGeom>
        </p:spPr>
      </p:pic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5EE9C853-BD15-41FE-8719-C2EE38C9260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1694" y="6083500"/>
            <a:ext cx="1133035" cy="113303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8831" y="358696"/>
            <a:ext cx="2078024" cy="451420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2BE46D7C-E81D-4348-8F3E-B4CCF03672DE}"/>
              </a:ext>
            </a:extLst>
          </p:cNvPr>
          <p:cNvSpPr/>
          <p:nvPr/>
        </p:nvSpPr>
        <p:spPr>
          <a:xfrm>
            <a:off x="-4831" y="7315"/>
            <a:ext cx="7648091" cy="10279685"/>
          </a:xfrm>
          <a:prstGeom prst="rect">
            <a:avLst/>
          </a:prstGeom>
          <a:gradFill>
            <a:gsLst>
              <a:gs pos="45000">
                <a:schemeClr val="accent1">
                  <a:lumMod val="5000"/>
                  <a:lumOff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9D86683-0A18-445A-A5E6-18B13989EC94}"/>
              </a:ext>
            </a:extLst>
          </p:cNvPr>
          <p:cNvSpPr/>
          <p:nvPr/>
        </p:nvSpPr>
        <p:spPr>
          <a:xfrm>
            <a:off x="269841" y="1352142"/>
            <a:ext cx="6487066" cy="297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LocoTech-Signal</a:t>
            </a:r>
            <a:r>
              <a:rPr lang="ru-RU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ru-RU" sz="32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– </a:t>
            </a:r>
            <a: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en-US" sz="24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Russian engineering group of companies focused on the creation of innovative solutions for modern signaling and traffic control systems  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Параллелограмм 44">
            <a:extLst>
              <a:ext uri="{FF2B5EF4-FFF2-40B4-BE49-F238E27FC236}">
                <a16:creationId xmlns:a16="http://schemas.microsoft.com/office/drawing/2014/main" id="{1C20B6BA-8510-4577-AB7B-BB591C3A5149}"/>
              </a:ext>
            </a:extLst>
          </p:cNvPr>
          <p:cNvSpPr/>
          <p:nvPr/>
        </p:nvSpPr>
        <p:spPr>
          <a:xfrm>
            <a:off x="5758561" y="8758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0" name="Параллелограмм 49">
            <a:extLst>
              <a:ext uri="{FF2B5EF4-FFF2-40B4-BE49-F238E27FC236}">
                <a16:creationId xmlns:a16="http://schemas.microsoft.com/office/drawing/2014/main" id="{DE47A702-0616-4A96-B699-EFEAB18AB5CE}"/>
              </a:ext>
            </a:extLst>
          </p:cNvPr>
          <p:cNvSpPr/>
          <p:nvPr/>
        </p:nvSpPr>
        <p:spPr>
          <a:xfrm>
            <a:off x="58674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9C596607-77A0-4D6A-BDD7-B89C7A1CB711}"/>
              </a:ext>
            </a:extLst>
          </p:cNvPr>
          <p:cNvSpPr/>
          <p:nvPr/>
        </p:nvSpPr>
        <p:spPr>
          <a:xfrm>
            <a:off x="7239000" y="3370102"/>
            <a:ext cx="2877062" cy="477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sz="24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EMPLOYEES</a:t>
            </a:r>
            <a:endParaRPr lang="en-US" sz="24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277397B9-9CD2-4C6F-9E45-3C1760C12A92}"/>
              </a:ext>
            </a:extLst>
          </p:cNvPr>
          <p:cNvSpPr/>
          <p:nvPr/>
        </p:nvSpPr>
        <p:spPr>
          <a:xfrm>
            <a:off x="9421262" y="1888572"/>
            <a:ext cx="1932538" cy="960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sz="5400" b="1" cap="all" dirty="0">
                <a:solidFill>
                  <a:srgbClr val="565760"/>
                </a:solidFill>
                <a:latin typeface="Century Gothic" panose="020B0502020202020204" pitchFamily="34" charset="0"/>
              </a:rPr>
              <a:t>&gt;</a:t>
            </a:r>
            <a:r>
              <a:rPr lang="en-US" sz="5400" b="1" cap="all" dirty="0" smtClean="0">
                <a:solidFill>
                  <a:srgbClr val="565760"/>
                </a:solidFill>
                <a:latin typeface="Century Gothic" panose="020B0502020202020204" pitchFamily="34" charset="0"/>
              </a:rPr>
              <a:t>12</a:t>
            </a:r>
            <a:r>
              <a:rPr lang="ru-RU" sz="5400" b="1" cap="all" dirty="0" smtClean="0">
                <a:solidFill>
                  <a:srgbClr val="565760"/>
                </a:solidFill>
                <a:latin typeface="Century Gothic" panose="020B0502020202020204" pitchFamily="34" charset="0"/>
              </a:rPr>
              <a:t>5</a:t>
            </a:r>
            <a:endParaRPr lang="en-US" sz="4800" b="1" cap="all" dirty="0">
              <a:solidFill>
                <a:srgbClr val="565760"/>
              </a:solidFill>
              <a:latin typeface="Century Gothic" panose="020B0502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E2AA217B-66F4-4DA3-B411-D4D87950CD9A}"/>
              </a:ext>
            </a:extLst>
          </p:cNvPr>
          <p:cNvSpPr/>
          <p:nvPr/>
        </p:nvSpPr>
        <p:spPr>
          <a:xfrm>
            <a:off x="8010056" y="1888572"/>
            <a:ext cx="1404000" cy="1404000"/>
          </a:xfrm>
          <a:prstGeom prst="ellipse">
            <a:avLst/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F889531-77A3-4B05-A31B-AF6BEAB2B617}"/>
              </a:ext>
            </a:extLst>
          </p:cNvPr>
          <p:cNvSpPr txBox="1"/>
          <p:nvPr/>
        </p:nvSpPr>
        <p:spPr>
          <a:xfrm>
            <a:off x="9829800" y="2776835"/>
            <a:ext cx="11063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PEOPLE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2A1C2C8E-C94D-4D4D-88D0-720896FC1AC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330" y="2083829"/>
            <a:ext cx="1015452" cy="1015452"/>
          </a:xfrm>
          <a:prstGeom prst="rect">
            <a:avLst/>
          </a:prstGeom>
        </p:spPr>
      </p:pic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270D9801-D1ED-41D2-A01F-7844431A51A1}"/>
              </a:ext>
            </a:extLst>
          </p:cNvPr>
          <p:cNvSpPr/>
          <p:nvPr/>
        </p:nvSpPr>
        <p:spPr>
          <a:xfrm>
            <a:off x="6553200" y="7538215"/>
            <a:ext cx="2877062" cy="477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sz="24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REVENUE*</a:t>
            </a:r>
            <a:endParaRPr lang="en-US" sz="24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792E4D3E-612F-4701-BC42-F27499E111A5}"/>
              </a:ext>
            </a:extLst>
          </p:cNvPr>
          <p:cNvSpPr/>
          <p:nvPr/>
        </p:nvSpPr>
        <p:spPr>
          <a:xfrm>
            <a:off x="8672333" y="5825637"/>
            <a:ext cx="1704514" cy="960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ru-RU" sz="5400" b="1" cap="all" dirty="0">
                <a:solidFill>
                  <a:srgbClr val="565760"/>
                </a:solidFill>
                <a:latin typeface="Century Gothic" panose="020B0502020202020204" pitchFamily="34" charset="0"/>
              </a:rPr>
              <a:t>2</a:t>
            </a:r>
            <a:r>
              <a:rPr lang="ru-RU" sz="5400" b="1" cap="all" dirty="0" smtClean="0">
                <a:solidFill>
                  <a:srgbClr val="565760"/>
                </a:solidFill>
                <a:latin typeface="Century Gothic" panose="020B0502020202020204" pitchFamily="34" charset="0"/>
              </a:rPr>
              <a:t>21</a:t>
            </a:r>
            <a:endParaRPr lang="en-US" sz="5400" b="1" cap="all" dirty="0">
              <a:solidFill>
                <a:srgbClr val="565760"/>
              </a:solidFill>
              <a:latin typeface="Century Gothic" panose="020B0502020202020204" pitchFamily="34" charset="0"/>
            </a:endParaRPr>
          </a:p>
        </p:txBody>
      </p:sp>
      <p:sp>
        <p:nvSpPr>
          <p:cNvPr id="54" name="Овал 53">
            <a:extLst>
              <a:ext uri="{FF2B5EF4-FFF2-40B4-BE49-F238E27FC236}">
                <a16:creationId xmlns:a16="http://schemas.microsoft.com/office/drawing/2014/main" id="{B57BB4FA-DB97-4AC2-8568-C550A1758EF7}"/>
              </a:ext>
            </a:extLst>
          </p:cNvPr>
          <p:cNvSpPr/>
          <p:nvPr/>
        </p:nvSpPr>
        <p:spPr>
          <a:xfrm>
            <a:off x="7402677" y="6038473"/>
            <a:ext cx="1404000" cy="1404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3BA7C1D-7055-4EE4-9493-5EA3713E639B}"/>
              </a:ext>
            </a:extLst>
          </p:cNvPr>
          <p:cNvSpPr txBox="1"/>
          <p:nvPr/>
        </p:nvSpPr>
        <p:spPr>
          <a:xfrm>
            <a:off x="8823519" y="6682692"/>
            <a:ext cx="13404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MLN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UB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.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F768814D-30EA-4055-97C7-DEF425A015A5}"/>
              </a:ext>
            </a:extLst>
          </p:cNvPr>
          <p:cNvSpPr/>
          <p:nvPr/>
        </p:nvSpPr>
        <p:spPr>
          <a:xfrm>
            <a:off x="10406095" y="7517417"/>
            <a:ext cx="2877062" cy="477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200"/>
              </a:spcAft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sz="24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MARKETS</a:t>
            </a:r>
            <a:endParaRPr lang="en-US" sz="24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58" name="Овал 57">
            <a:extLst>
              <a:ext uri="{FF2B5EF4-FFF2-40B4-BE49-F238E27FC236}">
                <a16:creationId xmlns:a16="http://schemas.microsoft.com/office/drawing/2014/main" id="{E09EB804-42D1-4634-8FF9-D9486086E735}"/>
              </a:ext>
            </a:extLst>
          </p:cNvPr>
          <p:cNvSpPr/>
          <p:nvPr/>
        </p:nvSpPr>
        <p:spPr>
          <a:xfrm>
            <a:off x="11191054" y="6035887"/>
            <a:ext cx="1404000" cy="1404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FD84C8C4-17FB-4C35-9D87-45395B9A224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5700" y="6171293"/>
            <a:ext cx="1136835" cy="1136835"/>
          </a:xfrm>
          <a:prstGeom prst="rect">
            <a:avLst/>
          </a:prstGeom>
        </p:spPr>
      </p:pic>
      <p:pic>
        <p:nvPicPr>
          <p:cNvPr id="69" name="Рисунок 68">
            <a:extLst>
              <a:ext uri="{FF2B5EF4-FFF2-40B4-BE49-F238E27FC236}">
                <a16:creationId xmlns:a16="http://schemas.microsoft.com/office/drawing/2014/main" id="{967440E6-59ED-4C15-9619-2DE870B3DE2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650" y="6147550"/>
            <a:ext cx="1180673" cy="1180673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766263D2-2962-4639-A225-CDB77C84DA98}"/>
              </a:ext>
            </a:extLst>
          </p:cNvPr>
          <p:cNvSpPr txBox="1"/>
          <p:nvPr/>
        </p:nvSpPr>
        <p:spPr>
          <a:xfrm>
            <a:off x="6271877" y="9804883"/>
            <a:ext cx="33574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Century Gothic" panose="020B0502020202020204" pitchFamily="34" charset="0"/>
              </a:rPr>
              <a:t>*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en-US" sz="1400" dirty="0" smtClean="0">
                <a:latin typeface="Century Gothic" panose="020B0502020202020204" pitchFamily="34" charset="0"/>
              </a:rPr>
              <a:t>As of </a:t>
            </a:r>
            <a:r>
              <a:rPr lang="ru-RU" sz="1400" dirty="0" smtClean="0">
                <a:latin typeface="Century Gothic" panose="020B0502020202020204" pitchFamily="34" charset="0"/>
              </a:rPr>
              <a:t>2020 </a:t>
            </a:r>
            <a:endParaRPr lang="ru-RU" sz="1400" dirty="0">
              <a:latin typeface="Century Gothic" panose="020B0502020202020204" pitchFamily="34" charset="0"/>
            </a:endParaRPr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id="{17E0D5F4-83AA-4525-97DF-3400DA52C094}"/>
              </a:ext>
            </a:extLst>
          </p:cNvPr>
          <p:cNvSpPr txBox="1"/>
          <p:nvPr/>
        </p:nvSpPr>
        <p:spPr>
          <a:xfrm>
            <a:off x="304800" y="122741"/>
            <a:ext cx="6629400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72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spc="159" dirty="0" smtClean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We are LocoTech-Signal</a:t>
            </a:r>
            <a:endParaRPr kumimoji="0" lang="ru-RU" sz="4000" b="1" i="0" u="none" strike="noStrike" kern="1200" cap="none" spc="159" normalizeH="0" baseline="0" noProof="0" dirty="0">
              <a:ln>
                <a:noFill/>
              </a:ln>
              <a:solidFill>
                <a:srgbClr val="3D4248"/>
              </a:solidFill>
              <a:effectLst/>
              <a:uLnTx/>
              <a:uFillTx/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10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BD01D9BF-26FC-436E-8904-2F055870A818}"/>
              </a:ext>
            </a:extLst>
          </p:cNvPr>
          <p:cNvSpPr/>
          <p:nvPr/>
        </p:nvSpPr>
        <p:spPr>
          <a:xfrm flipH="1">
            <a:off x="0" y="2844"/>
            <a:ext cx="18288000" cy="10287000"/>
          </a:xfrm>
          <a:prstGeom prst="rect">
            <a:avLst/>
          </a:prstGeom>
          <a:gradFill flip="none" rotWithShape="1">
            <a:gsLst>
              <a:gs pos="28000">
                <a:schemeClr val="bg1">
                  <a:lumMod val="75000"/>
                </a:schemeClr>
              </a:gs>
              <a:gs pos="67000">
                <a:srgbClr val="CCCCCC"/>
              </a:gs>
              <a:gs pos="76000">
                <a:schemeClr val="bg1">
                  <a:lumMod val="8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914D786-A8E8-4DED-8737-0157BB33AA11}"/>
              </a:ext>
            </a:extLst>
          </p:cNvPr>
          <p:cNvSpPr txBox="1"/>
          <p:nvPr/>
        </p:nvSpPr>
        <p:spPr>
          <a:xfrm>
            <a:off x="228600" y="2940795"/>
            <a:ext cx="27882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b="0" dirty="0" smtClean="0">
                <a:solidFill>
                  <a:srgbClr val="404040"/>
                </a:solidFill>
              </a:rPr>
              <a:t>Incorporation </a:t>
            </a:r>
            <a:r>
              <a:rPr lang="en-US" sz="1800" b="0" dirty="0">
                <a:solidFill>
                  <a:srgbClr val="404040"/>
                </a:solidFill>
              </a:rPr>
              <a:t>of </a:t>
            </a:r>
          </a:p>
          <a:p>
            <a:r>
              <a:rPr lang="en-US" sz="1800" b="0" dirty="0">
                <a:solidFill>
                  <a:srgbClr val="404040"/>
                </a:solidFill>
              </a:rPr>
              <a:t>LocoTech-Signal</a:t>
            </a:r>
          </a:p>
          <a:p>
            <a:endParaRPr lang="ru-RU" sz="1800" b="0" dirty="0">
              <a:solidFill>
                <a:srgbClr val="40404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A3DAEE-9A59-41B7-8EEE-4A3252FC91F0}"/>
              </a:ext>
            </a:extLst>
          </p:cNvPr>
          <p:cNvSpPr txBox="1"/>
          <p:nvPr/>
        </p:nvSpPr>
        <p:spPr>
          <a:xfrm>
            <a:off x="1800726" y="5621610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March</a:t>
            </a:r>
            <a:r>
              <a:rPr lang="ru-RU" sz="2000" dirty="0" smtClean="0">
                <a:solidFill>
                  <a:srgbClr val="3D4248"/>
                </a:solidFill>
              </a:rPr>
              <a:t> </a:t>
            </a:r>
            <a:r>
              <a:rPr lang="ru-RU" sz="2000" dirty="0">
                <a:solidFill>
                  <a:srgbClr val="3D4248"/>
                </a:solidFill>
              </a:rPr>
              <a:t>2018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3AD3177-6978-463C-820D-9C2F6B3101B2}"/>
              </a:ext>
            </a:extLst>
          </p:cNvPr>
          <p:cNvSpPr txBox="1"/>
          <p:nvPr/>
        </p:nvSpPr>
        <p:spPr>
          <a:xfrm>
            <a:off x="3448786" y="2570755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October</a:t>
            </a:r>
            <a:r>
              <a:rPr lang="ru-RU" sz="2000" dirty="0" smtClean="0">
                <a:solidFill>
                  <a:srgbClr val="3D4248"/>
                </a:solidFill>
              </a:rPr>
              <a:t> </a:t>
            </a:r>
            <a:r>
              <a:rPr lang="ru-RU" sz="2000" dirty="0">
                <a:solidFill>
                  <a:srgbClr val="3D4248"/>
                </a:solidFill>
              </a:rPr>
              <a:t>2018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C71E416-CC02-402C-992E-CFA3C5FA91C2}"/>
              </a:ext>
            </a:extLst>
          </p:cNvPr>
          <p:cNvSpPr txBox="1"/>
          <p:nvPr/>
        </p:nvSpPr>
        <p:spPr>
          <a:xfrm>
            <a:off x="5472978" y="5621610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November</a:t>
            </a:r>
            <a:r>
              <a:rPr lang="ru-RU" sz="2000" dirty="0" smtClean="0">
                <a:solidFill>
                  <a:srgbClr val="3D4248"/>
                </a:solidFill>
              </a:rPr>
              <a:t> </a:t>
            </a:r>
            <a:r>
              <a:rPr lang="ru-RU" sz="2000" dirty="0">
                <a:solidFill>
                  <a:srgbClr val="3D4248"/>
                </a:solidFill>
              </a:rPr>
              <a:t>2018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5CD91B-6D7A-487B-819A-4300755F6F51}"/>
              </a:ext>
            </a:extLst>
          </p:cNvPr>
          <p:cNvSpPr txBox="1"/>
          <p:nvPr/>
        </p:nvSpPr>
        <p:spPr>
          <a:xfrm>
            <a:off x="6876542" y="2570755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January</a:t>
            </a:r>
            <a:r>
              <a:rPr lang="ru-RU" sz="2000" dirty="0" smtClean="0">
                <a:solidFill>
                  <a:srgbClr val="3D4248"/>
                </a:solidFill>
              </a:rPr>
              <a:t> </a:t>
            </a:r>
            <a:r>
              <a:rPr lang="ru-RU" sz="2000" dirty="0">
                <a:solidFill>
                  <a:srgbClr val="3D4248"/>
                </a:solidFill>
              </a:rPr>
              <a:t>2019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025989-9499-419A-AE39-97BE7E5B296E}"/>
              </a:ext>
            </a:extLst>
          </p:cNvPr>
          <p:cNvSpPr txBox="1"/>
          <p:nvPr/>
        </p:nvSpPr>
        <p:spPr>
          <a:xfrm>
            <a:off x="8788094" y="5621610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August</a:t>
            </a:r>
            <a:r>
              <a:rPr lang="ru-RU" sz="2000" dirty="0" smtClean="0">
                <a:solidFill>
                  <a:srgbClr val="3D4248"/>
                </a:solidFill>
              </a:rPr>
              <a:t> </a:t>
            </a:r>
            <a:r>
              <a:rPr lang="ru-RU" sz="2000" dirty="0">
                <a:solidFill>
                  <a:srgbClr val="3D4248"/>
                </a:solidFill>
              </a:rPr>
              <a:t>2019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982C622-51AC-40B7-90BA-74ED10E77F3B}"/>
              </a:ext>
            </a:extLst>
          </p:cNvPr>
          <p:cNvSpPr txBox="1"/>
          <p:nvPr/>
        </p:nvSpPr>
        <p:spPr>
          <a:xfrm>
            <a:off x="10353100" y="2570755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January</a:t>
            </a:r>
            <a:r>
              <a:rPr lang="ru-RU" sz="2000" dirty="0" smtClean="0">
                <a:solidFill>
                  <a:srgbClr val="3D4248"/>
                </a:solidFill>
              </a:rPr>
              <a:t> </a:t>
            </a:r>
            <a:r>
              <a:rPr lang="ru-RU" sz="2000" dirty="0">
                <a:solidFill>
                  <a:srgbClr val="3D4248"/>
                </a:solidFill>
              </a:rPr>
              <a:t>202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1DA0C84-F1A2-408A-ACD4-CD4D4BA0579F}"/>
              </a:ext>
            </a:extLst>
          </p:cNvPr>
          <p:cNvSpPr txBox="1"/>
          <p:nvPr/>
        </p:nvSpPr>
        <p:spPr>
          <a:xfrm>
            <a:off x="12292959" y="5621610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April</a:t>
            </a:r>
            <a:r>
              <a:rPr lang="ru-RU" sz="2000" dirty="0" smtClean="0">
                <a:solidFill>
                  <a:srgbClr val="3D4248"/>
                </a:solidFill>
              </a:rPr>
              <a:t> </a:t>
            </a:r>
            <a:r>
              <a:rPr lang="ru-RU" sz="2000" dirty="0">
                <a:solidFill>
                  <a:srgbClr val="3D4248"/>
                </a:solidFill>
              </a:rPr>
              <a:t>202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62B228E-E3F3-455E-93EF-42C7A369B847}"/>
              </a:ext>
            </a:extLst>
          </p:cNvPr>
          <p:cNvSpPr txBox="1"/>
          <p:nvPr/>
        </p:nvSpPr>
        <p:spPr>
          <a:xfrm>
            <a:off x="14020800" y="2570755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May</a:t>
            </a:r>
            <a:r>
              <a:rPr lang="ru-RU" sz="2000" dirty="0" smtClean="0">
                <a:solidFill>
                  <a:srgbClr val="3D4248"/>
                </a:solidFill>
              </a:rPr>
              <a:t> </a:t>
            </a:r>
            <a:r>
              <a:rPr lang="ru-RU" sz="2000" dirty="0">
                <a:solidFill>
                  <a:srgbClr val="3D4248"/>
                </a:solidFill>
              </a:rPr>
              <a:t>2020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858A1E5-7F6F-41AA-A026-F314B621CC11}"/>
              </a:ext>
            </a:extLst>
          </p:cNvPr>
          <p:cNvSpPr/>
          <p:nvPr/>
        </p:nvSpPr>
        <p:spPr>
          <a:xfrm>
            <a:off x="228729" y="2570755"/>
            <a:ext cx="26394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October </a:t>
            </a: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2017</a:t>
            </a:r>
          </a:p>
          <a:p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endParaRPr lang="ru-RU" sz="24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AC75D5B0-FC4B-4CF8-8CD7-DD72BB5C2EB0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41" t="1062" r="-4138" b="2241"/>
          <a:stretch/>
        </p:blipFill>
        <p:spPr>
          <a:xfrm>
            <a:off x="1976813" y="7439599"/>
            <a:ext cx="1147233" cy="1110225"/>
          </a:xfrm>
          <a:prstGeom prst="ellipse">
            <a:avLst/>
          </a:prstGeom>
          <a:ln w="285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68F1B55E-2FAD-4BE1-845E-E514B6F4FD73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0568" y="7439599"/>
            <a:ext cx="1101792" cy="1066250"/>
          </a:xfrm>
          <a:prstGeom prst="ellipse">
            <a:avLst/>
          </a:prstGeom>
          <a:ln w="285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5D3EA53-38CF-4E55-9DC5-35CE367C795C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7456" y="4021409"/>
            <a:ext cx="1095015" cy="1059692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457F0477-1B42-4895-911B-DFBAB48C246D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94"/>
          <a:stretch/>
        </p:blipFill>
        <p:spPr>
          <a:xfrm>
            <a:off x="9239418" y="7439599"/>
            <a:ext cx="1129186" cy="1092760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EF06189C-FDC2-45A1-A32C-291875038243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6297" y="4021409"/>
            <a:ext cx="1114099" cy="1078160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47" name="Picture 10">
            <a:extLst>
              <a:ext uri="{FF2B5EF4-FFF2-40B4-BE49-F238E27FC236}">
                <a16:creationId xmlns:a16="http://schemas.microsoft.com/office/drawing/2014/main" id="{FA418D90-7F45-423A-8083-23EC97CE1045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618" t="16287" r="20588" b="7511"/>
          <a:stretch/>
        </p:blipFill>
        <p:spPr>
          <a:xfrm>
            <a:off x="14338418" y="4021409"/>
            <a:ext cx="1105404" cy="1069746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F32C909-A4BF-4B89-8AC0-05D81D0FDAFC}"/>
              </a:ext>
            </a:extLst>
          </p:cNvPr>
          <p:cNvCxnSpPr>
            <a:cxnSpLocks/>
          </p:cNvCxnSpPr>
          <p:nvPr/>
        </p:nvCxnSpPr>
        <p:spPr>
          <a:xfrm>
            <a:off x="442912" y="5500781"/>
            <a:ext cx="1760560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Овал 1">
            <a:extLst>
              <a:ext uri="{FF2B5EF4-FFF2-40B4-BE49-F238E27FC236}">
                <a16:creationId xmlns:a16="http://schemas.microsoft.com/office/drawing/2014/main" id="{BCE86548-4777-42B9-9C4E-C72DB72B93EF}"/>
              </a:ext>
            </a:extLst>
          </p:cNvPr>
          <p:cNvSpPr/>
          <p:nvPr/>
        </p:nvSpPr>
        <p:spPr>
          <a:xfrm>
            <a:off x="1001400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B9C6B812-0637-4E76-8C10-88CBF1338F39}"/>
              </a:ext>
            </a:extLst>
          </p:cNvPr>
          <p:cNvSpPr/>
          <p:nvPr/>
        </p:nvSpPr>
        <p:spPr>
          <a:xfrm>
            <a:off x="2442429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89FE96E8-C624-4D93-AA60-3B8CA448D3BA}"/>
              </a:ext>
            </a:extLst>
          </p:cNvPr>
          <p:cNvSpPr/>
          <p:nvPr/>
        </p:nvSpPr>
        <p:spPr>
          <a:xfrm>
            <a:off x="4608428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BD4EA21A-8923-4A24-BAAB-5912435CBC67}"/>
              </a:ext>
            </a:extLst>
          </p:cNvPr>
          <p:cNvSpPr/>
          <p:nvPr/>
        </p:nvSpPr>
        <p:spPr>
          <a:xfrm>
            <a:off x="6243464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BE59E8E-8E70-4933-929B-0FD57EBD1848}"/>
              </a:ext>
            </a:extLst>
          </p:cNvPr>
          <p:cNvSpPr/>
          <p:nvPr/>
        </p:nvSpPr>
        <p:spPr>
          <a:xfrm>
            <a:off x="8186963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C1E8B334-1992-420E-85A6-B4051B34B88A}"/>
              </a:ext>
            </a:extLst>
          </p:cNvPr>
          <p:cNvSpPr/>
          <p:nvPr/>
        </p:nvSpPr>
        <p:spPr>
          <a:xfrm>
            <a:off x="9696011" y="5416184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5657B87E-FAB3-49E4-B49F-7786373FFA5F}"/>
              </a:ext>
            </a:extLst>
          </p:cNvPr>
          <p:cNvSpPr/>
          <p:nvPr/>
        </p:nvSpPr>
        <p:spPr>
          <a:xfrm>
            <a:off x="11415346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id="{826F1425-685B-4659-9438-EF4F644C855F}"/>
              </a:ext>
            </a:extLst>
          </p:cNvPr>
          <p:cNvSpPr/>
          <p:nvPr/>
        </p:nvSpPr>
        <p:spPr>
          <a:xfrm>
            <a:off x="13193867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52" name="Овал 51">
            <a:extLst>
              <a:ext uri="{FF2B5EF4-FFF2-40B4-BE49-F238E27FC236}">
                <a16:creationId xmlns:a16="http://schemas.microsoft.com/office/drawing/2014/main" id="{F82203E5-0C5F-490C-9000-DA1C4734BA0B}"/>
              </a:ext>
            </a:extLst>
          </p:cNvPr>
          <p:cNvSpPr/>
          <p:nvPr/>
        </p:nvSpPr>
        <p:spPr>
          <a:xfrm>
            <a:off x="14783120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5C9650C0-338D-4B72-8607-E6980F31B7E8}"/>
              </a:ext>
            </a:extLst>
          </p:cNvPr>
          <p:cNvSpPr/>
          <p:nvPr/>
        </p:nvSpPr>
        <p:spPr>
          <a:xfrm>
            <a:off x="16589560" y="5392781"/>
            <a:ext cx="216000" cy="216000"/>
          </a:xfrm>
          <a:prstGeom prst="ellipse">
            <a:avLst/>
          </a:prstGeom>
          <a:solidFill>
            <a:srgbClr val="F2595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62B228E-E3F3-455E-93EF-42C7A369B847}"/>
              </a:ext>
            </a:extLst>
          </p:cNvPr>
          <p:cNvSpPr txBox="1"/>
          <p:nvPr/>
        </p:nvSpPr>
        <p:spPr>
          <a:xfrm>
            <a:off x="15655491" y="5621610"/>
            <a:ext cx="2490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2000" dirty="0" smtClean="0">
                <a:solidFill>
                  <a:srgbClr val="3D4248"/>
                </a:solidFill>
              </a:rPr>
              <a:t>March</a:t>
            </a:r>
            <a:r>
              <a:rPr lang="ru-RU" sz="2000" dirty="0" smtClean="0">
                <a:solidFill>
                  <a:srgbClr val="3D4248"/>
                </a:solidFill>
              </a:rPr>
              <a:t> 2021</a:t>
            </a:r>
            <a:endParaRPr lang="ru-RU" sz="2000" dirty="0">
              <a:solidFill>
                <a:srgbClr val="3D4248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A677C04-490F-4F73-88B1-E573C651E507}"/>
              </a:ext>
            </a:extLst>
          </p:cNvPr>
          <p:cNvSpPr txBox="1"/>
          <p:nvPr/>
        </p:nvSpPr>
        <p:spPr>
          <a:xfrm>
            <a:off x="15031334" y="6006573"/>
            <a:ext cx="341901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 smtClean="0"/>
              <a:t>LocoTech-Signal and </a:t>
            </a:r>
            <a:r>
              <a:rPr lang="en-US" sz="1800" dirty="0"/>
              <a:t>ECM S.p.A. </a:t>
            </a:r>
            <a:r>
              <a:rPr lang="en-US" sz="1800" dirty="0" smtClean="0"/>
              <a:t>open new research </a:t>
            </a:r>
            <a:r>
              <a:rPr lang="en-US" sz="1800" dirty="0"/>
              <a:t>l</a:t>
            </a:r>
            <a:r>
              <a:rPr lang="en-US" sz="1800" dirty="0" smtClean="0"/>
              <a:t>aboratory to adapt and test Ctrl@Lock400 powered by HMR9 </a:t>
            </a:r>
            <a:endParaRPr lang="ru-RU" sz="1800" dirty="0"/>
          </a:p>
        </p:txBody>
      </p:sp>
      <p:pic>
        <p:nvPicPr>
          <p:cNvPr id="4" name="Рисунок 3"/>
          <p:cNvPicPr preferRelativeResize="0"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1560" y="7439599"/>
            <a:ext cx="1152000" cy="1152000"/>
          </a:xfrm>
          <a:prstGeom prst="ellipse">
            <a:avLst/>
          </a:prstGeom>
        </p:spPr>
      </p:pic>
      <p:pic>
        <p:nvPicPr>
          <p:cNvPr id="3" name="Рисунок 2"/>
          <p:cNvPicPr preferRelativeResize="0"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020729"/>
            <a:ext cx="1152000" cy="1152000"/>
          </a:xfrm>
          <a:prstGeom prst="ellipse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214" y="4021409"/>
            <a:ext cx="1106428" cy="1126091"/>
          </a:xfrm>
          <a:prstGeom prst="ellipse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02" r="10420"/>
          <a:stretch/>
        </p:blipFill>
        <p:spPr>
          <a:xfrm>
            <a:off x="12725400" y="7439599"/>
            <a:ext cx="1152934" cy="1128156"/>
          </a:xfrm>
          <a:prstGeom prst="ellipse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AFBA8FE1-7955-439D-878C-CD8A88F1BCD0}"/>
              </a:ext>
            </a:extLst>
          </p:cNvPr>
          <p:cNvSpPr txBox="1"/>
          <p:nvPr/>
        </p:nvSpPr>
        <p:spPr>
          <a:xfrm>
            <a:off x="1762916" y="6006573"/>
            <a:ext cx="26425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 smtClean="0"/>
              <a:t>Ctrl@Lock100 certification for metro </a:t>
            </a:r>
            <a:r>
              <a:rPr lang="ru-RU" sz="1800" dirty="0" smtClean="0"/>
              <a:t> </a:t>
            </a:r>
            <a:r>
              <a:rPr lang="en-US" sz="1800" dirty="0" smtClean="0"/>
              <a:t>implementation</a:t>
            </a:r>
            <a:endParaRPr lang="ru-RU" sz="1800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3D571AC-0891-438E-807F-21BBED2C462D}"/>
              </a:ext>
            </a:extLst>
          </p:cNvPr>
          <p:cNvSpPr txBox="1"/>
          <p:nvPr/>
        </p:nvSpPr>
        <p:spPr>
          <a:xfrm>
            <a:off x="3448786" y="2940795"/>
            <a:ext cx="2587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 smtClean="0"/>
              <a:t>Ctrl@Lock200 TRCU certification </a:t>
            </a:r>
            <a:endParaRPr lang="en-US" sz="1800" dirty="0"/>
          </a:p>
          <a:p>
            <a:endParaRPr lang="ru-RU" sz="1800" dirty="0"/>
          </a:p>
        </p:txBody>
      </p:sp>
      <p:sp>
        <p:nvSpPr>
          <p:cNvPr id="62" name="TextBox 3">
            <a:extLst>
              <a:ext uri="{FF2B5EF4-FFF2-40B4-BE49-F238E27FC236}">
                <a16:creationId xmlns:a16="http://schemas.microsoft.com/office/drawing/2014/main" id="{DCF9A2DC-A12D-4987-A412-4DED5A21FBB9}"/>
              </a:ext>
            </a:extLst>
          </p:cNvPr>
          <p:cNvSpPr txBox="1"/>
          <p:nvPr/>
        </p:nvSpPr>
        <p:spPr>
          <a:xfrm>
            <a:off x="196760" y="258809"/>
            <a:ext cx="6705600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en-US" sz="4000" b="1" spc="159" dirty="0" smtClean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OMPANY MILESTONES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3620A5C-84D7-448B-A2CF-9824FE70D8B5}"/>
              </a:ext>
            </a:extLst>
          </p:cNvPr>
          <p:cNvSpPr txBox="1"/>
          <p:nvPr/>
        </p:nvSpPr>
        <p:spPr>
          <a:xfrm>
            <a:off x="6898665" y="2940795"/>
            <a:ext cx="26756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 smtClean="0"/>
              <a:t>Estonia: Ctrl@Track100 supply contract</a:t>
            </a:r>
            <a:endParaRPr lang="ru-RU" sz="18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BC6FABF-A527-4E6A-9B78-7CB10961D244}"/>
              </a:ext>
            </a:extLst>
          </p:cNvPr>
          <p:cNvSpPr txBox="1"/>
          <p:nvPr/>
        </p:nvSpPr>
        <p:spPr>
          <a:xfrm>
            <a:off x="5465604" y="6006573"/>
            <a:ext cx="32456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 smtClean="0"/>
              <a:t>Turkmenistan: supply </a:t>
            </a:r>
            <a:r>
              <a:rPr lang="en-US" sz="1800" dirty="0"/>
              <a:t>contract </a:t>
            </a:r>
            <a:r>
              <a:rPr lang="en-US" sz="1800" dirty="0" smtClean="0"/>
              <a:t>of Level </a:t>
            </a:r>
            <a:r>
              <a:rPr lang="en-US" sz="1800" dirty="0"/>
              <a:t>C</a:t>
            </a:r>
            <a:r>
              <a:rPr lang="en-US" sz="1800" dirty="0" smtClean="0"/>
              <a:t>rossing </a:t>
            </a:r>
            <a:r>
              <a:rPr lang="en-US" sz="1800" dirty="0"/>
              <a:t>S</a:t>
            </a:r>
            <a:r>
              <a:rPr lang="en-US" sz="1800" dirty="0" smtClean="0"/>
              <a:t>ignaling System </a:t>
            </a:r>
            <a:endParaRPr lang="ru-RU" sz="18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5C2557C-5356-41FF-A8EA-92C8A7D1C6DD}"/>
              </a:ext>
            </a:extLst>
          </p:cNvPr>
          <p:cNvSpPr txBox="1"/>
          <p:nvPr/>
        </p:nvSpPr>
        <p:spPr>
          <a:xfrm>
            <a:off x="8766636" y="6006573"/>
            <a:ext cx="357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 smtClean="0"/>
              <a:t>Cooperation Agreement</a:t>
            </a:r>
          </a:p>
          <a:p>
            <a:r>
              <a:rPr lang="en-US" sz="1800" dirty="0" smtClean="0"/>
              <a:t>with KTZ on signaling</a:t>
            </a:r>
          </a:p>
          <a:p>
            <a:r>
              <a:rPr lang="en-US" sz="1800" dirty="0" smtClean="0"/>
              <a:t>systems implementation</a:t>
            </a:r>
            <a:endParaRPr lang="ru-RU" sz="1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0B1A966-2FEE-4FF7-B5DB-9C963EA0C955}"/>
              </a:ext>
            </a:extLst>
          </p:cNvPr>
          <p:cNvSpPr txBox="1"/>
          <p:nvPr/>
        </p:nvSpPr>
        <p:spPr>
          <a:xfrm>
            <a:off x="10334353" y="2940795"/>
            <a:ext cx="28595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 smtClean="0"/>
              <a:t>Agreement with</a:t>
            </a:r>
            <a:r>
              <a:rPr lang="ru-RU" sz="1800" dirty="0" smtClean="0"/>
              <a:t> </a:t>
            </a:r>
            <a:r>
              <a:rPr lang="en-US" sz="1800" dirty="0"/>
              <a:t>ECM</a:t>
            </a:r>
            <a:r>
              <a:rPr lang="ru-RU" sz="1800" dirty="0"/>
              <a:t> </a:t>
            </a:r>
            <a:r>
              <a:rPr lang="en-US" sz="1800" dirty="0"/>
              <a:t>S.p.A. </a:t>
            </a:r>
            <a:r>
              <a:rPr lang="en-US" sz="1800" dirty="0" smtClean="0"/>
              <a:t>on introduction of electronic interlocking</a:t>
            </a:r>
            <a:endParaRPr lang="ru-RU" sz="18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F2A0F65-7392-4F67-99EC-A86836F9DE17}"/>
              </a:ext>
            </a:extLst>
          </p:cNvPr>
          <p:cNvSpPr txBox="1"/>
          <p:nvPr/>
        </p:nvSpPr>
        <p:spPr>
          <a:xfrm>
            <a:off x="12292959" y="6006573"/>
            <a:ext cx="2747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/>
              <a:t>Latvia</a:t>
            </a:r>
            <a:r>
              <a:rPr lang="en-US" sz="1800" dirty="0" smtClean="0"/>
              <a:t>: Ctrl@Track100</a:t>
            </a:r>
            <a:r>
              <a:rPr lang="ru-RU" sz="1800" dirty="0" smtClean="0"/>
              <a:t> </a:t>
            </a:r>
            <a:r>
              <a:rPr lang="en-US" sz="1800" dirty="0" smtClean="0"/>
              <a:t>supply contract</a:t>
            </a:r>
            <a:endParaRPr lang="ru-RU" sz="1800" dirty="0"/>
          </a:p>
        </p:txBody>
      </p:sp>
      <p:pic>
        <p:nvPicPr>
          <p:cNvPr id="68" name="Рисунок 6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7200" y="409753"/>
            <a:ext cx="2185125" cy="474687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EA677C04-490F-4F73-88B1-E573C651E507}"/>
              </a:ext>
            </a:extLst>
          </p:cNvPr>
          <p:cNvSpPr txBox="1"/>
          <p:nvPr/>
        </p:nvSpPr>
        <p:spPr>
          <a:xfrm>
            <a:off x="14020800" y="2940795"/>
            <a:ext cx="26714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800" dirty="0" smtClean="0"/>
              <a:t>Inauguration of the Machine Vision Competence Center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4010704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ZDANIE.INFO - «Трансмашхолдинг» арендовал бизнес-центр в Хамовниках">
            <a:extLst>
              <a:ext uri="{FF2B5EF4-FFF2-40B4-BE49-F238E27FC236}">
                <a16:creationId xmlns:a16="http://schemas.microsoft.com/office/drawing/2014/main" id="{E8B6A5ED-5509-4210-B931-62C0CC96E8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950" y="3924300"/>
            <a:ext cx="9544050" cy="636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араллелограмм 25">
            <a:extLst>
              <a:ext uri="{FF2B5EF4-FFF2-40B4-BE49-F238E27FC236}">
                <a16:creationId xmlns:a16="http://schemas.microsoft.com/office/drawing/2014/main" id="{5FB40153-478A-477A-A78D-D06E4EA066A8}"/>
              </a:ext>
            </a:extLst>
          </p:cNvPr>
          <p:cNvSpPr/>
          <p:nvPr/>
        </p:nvSpPr>
        <p:spPr>
          <a:xfrm>
            <a:off x="5534698" y="0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DCECDF57-E416-4AB6-9739-F3D7FC6925F5}"/>
              </a:ext>
            </a:extLst>
          </p:cNvPr>
          <p:cNvSpPr/>
          <p:nvPr/>
        </p:nvSpPr>
        <p:spPr>
          <a:xfrm>
            <a:off x="10740592" y="0"/>
            <a:ext cx="7546175" cy="10287000"/>
          </a:xfrm>
          <a:prstGeom prst="rect">
            <a:avLst/>
          </a:prstGeom>
          <a:gradFill>
            <a:gsLst>
              <a:gs pos="32000">
                <a:schemeClr val="accent1">
                  <a:lumMod val="5000"/>
                  <a:lumOff val="95000"/>
                </a:schemeClr>
              </a:gs>
              <a:gs pos="5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547C274-17D3-430C-9F62-953F08FB33C6}"/>
              </a:ext>
            </a:extLst>
          </p:cNvPr>
          <p:cNvSpPr/>
          <p:nvPr/>
        </p:nvSpPr>
        <p:spPr>
          <a:xfrm>
            <a:off x="12408574" y="266700"/>
            <a:ext cx="580322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LocoTech</a:t>
            </a:r>
            <a:r>
              <a:rPr lang="ru-RU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-</a:t>
            </a: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Signal</a:t>
            </a:r>
            <a: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en-US" sz="2400" dirty="0">
                <a:solidFill>
                  <a:srgbClr val="3D4248"/>
                </a:solidFill>
                <a:latin typeface="Century Gothic" panose="020B0502020202020204" pitchFamily="34" charset="0"/>
              </a:rPr>
              <a:t>part of the world's </a:t>
            </a:r>
            <a:r>
              <a:rPr lang="en-US" sz="24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largest</a:t>
            </a:r>
            <a:r>
              <a:rPr lang="ru-RU" sz="24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4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rolling stock manufacturer and service provider group - TRANSMASHHOLDING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Прямоугольник: скругленные верхние углы 7">
            <a:extLst>
              <a:ext uri="{FF2B5EF4-FFF2-40B4-BE49-F238E27FC236}">
                <a16:creationId xmlns:a16="http://schemas.microsoft.com/office/drawing/2014/main" id="{5C761143-208D-4E84-A8EA-8E375BE7BCBE}"/>
              </a:ext>
            </a:extLst>
          </p:cNvPr>
          <p:cNvSpPr/>
          <p:nvPr/>
        </p:nvSpPr>
        <p:spPr>
          <a:xfrm rot="16200000">
            <a:off x="5097653" y="-2280733"/>
            <a:ext cx="1539493" cy="11125202"/>
          </a:xfrm>
          <a:prstGeom prst="round2SameRect">
            <a:avLst>
              <a:gd name="adj1" fmla="val 15287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Прямоугольник: скругленные верхние углы 82">
            <a:extLst>
              <a:ext uri="{FF2B5EF4-FFF2-40B4-BE49-F238E27FC236}">
                <a16:creationId xmlns:a16="http://schemas.microsoft.com/office/drawing/2014/main" id="{E7F46E6E-7238-4543-847E-14C3AFAF4EA4}"/>
              </a:ext>
            </a:extLst>
          </p:cNvPr>
          <p:cNvSpPr/>
          <p:nvPr/>
        </p:nvSpPr>
        <p:spPr>
          <a:xfrm rot="16200000">
            <a:off x="4792853" y="222327"/>
            <a:ext cx="1539493" cy="10515604"/>
          </a:xfrm>
          <a:prstGeom prst="round2SameRect">
            <a:avLst>
              <a:gd name="adj1" fmla="val 15287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араллелограмм 26">
            <a:extLst>
              <a:ext uri="{FF2B5EF4-FFF2-40B4-BE49-F238E27FC236}">
                <a16:creationId xmlns:a16="http://schemas.microsoft.com/office/drawing/2014/main" id="{5E6D16AC-B13E-40C1-AE63-761E4409FD26}"/>
              </a:ext>
            </a:extLst>
          </p:cNvPr>
          <p:cNvSpPr/>
          <p:nvPr/>
        </p:nvSpPr>
        <p:spPr>
          <a:xfrm>
            <a:off x="105156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61" name="TextBox 12">
            <a:extLst>
              <a:ext uri="{FF2B5EF4-FFF2-40B4-BE49-F238E27FC236}">
                <a16:creationId xmlns:a16="http://schemas.microsoft.com/office/drawing/2014/main" id="{663FE343-22BA-40FF-AE7B-BFD5045ED1CA}"/>
              </a:ext>
            </a:extLst>
          </p:cNvPr>
          <p:cNvSpPr txBox="1"/>
          <p:nvPr/>
        </p:nvSpPr>
        <p:spPr>
          <a:xfrm>
            <a:off x="1789256" y="2893661"/>
            <a:ext cx="2108970" cy="7627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3080"/>
              </a:lnSpc>
              <a:spcBef>
                <a:spcPct val="0"/>
              </a:spcBef>
            </a:pPr>
            <a:r>
              <a:rPr lang="en-US" sz="2400" b="1" spc="-2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entury Gothic" panose="020B0502020202020204" pitchFamily="34" charset="0"/>
              </a:rPr>
              <a:t>ROLLING STOCK</a:t>
            </a:r>
            <a:endParaRPr lang="ru-RU" sz="2400" b="1" spc="-21" dirty="0">
              <a:solidFill>
                <a:prstClr val="black">
                  <a:lumMod val="75000"/>
                  <a:lumOff val="25000"/>
                </a:prst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0BA57F56-47BA-426D-8422-C4DBFBAE48F3}"/>
              </a:ext>
            </a:extLst>
          </p:cNvPr>
          <p:cNvCxnSpPr/>
          <p:nvPr/>
        </p:nvCxnSpPr>
        <p:spPr>
          <a:xfrm>
            <a:off x="3962400" y="2748505"/>
            <a:ext cx="0" cy="105308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12">
            <a:extLst>
              <a:ext uri="{FF2B5EF4-FFF2-40B4-BE49-F238E27FC236}">
                <a16:creationId xmlns:a16="http://schemas.microsoft.com/office/drawing/2014/main" id="{36D14605-A2AC-485A-B1B6-1218E0848964}"/>
              </a:ext>
            </a:extLst>
          </p:cNvPr>
          <p:cNvSpPr txBox="1"/>
          <p:nvPr/>
        </p:nvSpPr>
        <p:spPr>
          <a:xfrm>
            <a:off x="4357453" y="2685788"/>
            <a:ext cx="2881547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3080"/>
              </a:lnSpc>
              <a:spcBef>
                <a:spcPct val="0"/>
              </a:spcBef>
            </a:pPr>
            <a:r>
              <a:rPr lang="en-US" sz="2000" spc="-21" dirty="0" smtClean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Freight &amp; Passenger rolling stock</a:t>
            </a:r>
            <a:endParaRPr lang="ru-RU" sz="2000" spc="-21" dirty="0">
              <a:solidFill>
                <a:schemeClr val="bg2">
                  <a:lumMod val="10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2E8854DA-C7B4-421D-A6FD-EA9280EA3AD6}"/>
              </a:ext>
            </a:extLst>
          </p:cNvPr>
          <p:cNvCxnSpPr/>
          <p:nvPr/>
        </p:nvCxnSpPr>
        <p:spPr>
          <a:xfrm>
            <a:off x="7342807" y="2775320"/>
            <a:ext cx="0" cy="1056222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B98B3156-8CE4-4EC4-B31A-1618360245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542" y="2828984"/>
            <a:ext cx="860924" cy="860924"/>
          </a:xfrm>
          <a:prstGeom prst="rect">
            <a:avLst/>
          </a:prstGeom>
        </p:spPr>
      </p:pic>
      <p:sp>
        <p:nvSpPr>
          <p:cNvPr id="66" name="TextBox 12">
            <a:extLst>
              <a:ext uri="{FF2B5EF4-FFF2-40B4-BE49-F238E27FC236}">
                <a16:creationId xmlns:a16="http://schemas.microsoft.com/office/drawing/2014/main" id="{1DC6CC92-D1EC-4296-BD18-BD9269FEC044}"/>
              </a:ext>
            </a:extLst>
          </p:cNvPr>
          <p:cNvSpPr txBox="1"/>
          <p:nvPr/>
        </p:nvSpPr>
        <p:spPr>
          <a:xfrm>
            <a:off x="1785146" y="5295900"/>
            <a:ext cx="2131192" cy="3652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3080"/>
              </a:lnSpc>
              <a:spcBef>
                <a:spcPct val="0"/>
              </a:spcBef>
            </a:pPr>
            <a:r>
              <a:rPr lang="en-US" sz="2400" b="1" spc="-2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entury Gothic" panose="020B0502020202020204" pitchFamily="34" charset="0"/>
              </a:rPr>
              <a:t>SERVICE</a:t>
            </a:r>
            <a:endParaRPr lang="ru-RU" sz="2400" b="1" spc="-21" dirty="0">
              <a:solidFill>
                <a:prstClr val="black">
                  <a:lumMod val="75000"/>
                  <a:lumOff val="2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67" name="TextBox 12">
            <a:extLst>
              <a:ext uri="{FF2B5EF4-FFF2-40B4-BE49-F238E27FC236}">
                <a16:creationId xmlns:a16="http://schemas.microsoft.com/office/drawing/2014/main" id="{BDFD2958-84F0-46EC-B9EE-C27BEF3B238F}"/>
              </a:ext>
            </a:extLst>
          </p:cNvPr>
          <p:cNvSpPr txBox="1"/>
          <p:nvPr/>
        </p:nvSpPr>
        <p:spPr>
          <a:xfrm>
            <a:off x="4357453" y="4914900"/>
            <a:ext cx="2881547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3080"/>
              </a:lnSpc>
              <a:spcBef>
                <a:spcPct val="0"/>
              </a:spcBef>
            </a:pPr>
            <a:r>
              <a:rPr lang="en-US" sz="2000" spc="-21" dirty="0" smtClean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Product Life Cycle Management  </a:t>
            </a:r>
            <a:endParaRPr lang="ru-RU" sz="2000" spc="-21" dirty="0">
              <a:solidFill>
                <a:schemeClr val="bg2">
                  <a:lumMod val="10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A07A4FB6-1305-4AD9-BEDB-12E34366F4CD}"/>
              </a:ext>
            </a:extLst>
          </p:cNvPr>
          <p:cNvCxnSpPr/>
          <p:nvPr/>
        </p:nvCxnSpPr>
        <p:spPr>
          <a:xfrm>
            <a:off x="3980513" y="4991100"/>
            <a:ext cx="0" cy="105308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304D2800-37D5-4CDC-A68D-FF12875F5EAD}"/>
              </a:ext>
            </a:extLst>
          </p:cNvPr>
          <p:cNvCxnSpPr/>
          <p:nvPr/>
        </p:nvCxnSpPr>
        <p:spPr>
          <a:xfrm>
            <a:off x="7327567" y="4991100"/>
            <a:ext cx="0" cy="1056222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Прямоугольник: скругленные верхние углы 83">
            <a:extLst>
              <a:ext uri="{FF2B5EF4-FFF2-40B4-BE49-F238E27FC236}">
                <a16:creationId xmlns:a16="http://schemas.microsoft.com/office/drawing/2014/main" id="{1EA8284C-2392-4FCE-8595-4778C8F59861}"/>
              </a:ext>
            </a:extLst>
          </p:cNvPr>
          <p:cNvSpPr/>
          <p:nvPr/>
        </p:nvSpPr>
        <p:spPr>
          <a:xfrm rot="16200000">
            <a:off x="4564254" y="2649188"/>
            <a:ext cx="1539493" cy="10058403"/>
          </a:xfrm>
          <a:prstGeom prst="round2SameRect">
            <a:avLst>
              <a:gd name="adj1" fmla="val 15287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6F90FB71-3ECD-4128-9F10-9FDC44FCA2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530" y="5148769"/>
            <a:ext cx="832931" cy="832931"/>
          </a:xfrm>
          <a:prstGeom prst="rect">
            <a:avLst/>
          </a:prstGeom>
        </p:spPr>
      </p:pic>
      <p:sp>
        <p:nvSpPr>
          <p:cNvPr id="82" name="Параллелограмм 81">
            <a:extLst>
              <a:ext uri="{FF2B5EF4-FFF2-40B4-BE49-F238E27FC236}">
                <a16:creationId xmlns:a16="http://schemas.microsoft.com/office/drawing/2014/main" id="{09392400-2E68-42F0-B36F-026C73CE6C2C}"/>
              </a:ext>
            </a:extLst>
          </p:cNvPr>
          <p:cNvSpPr/>
          <p:nvPr/>
        </p:nvSpPr>
        <p:spPr>
          <a:xfrm>
            <a:off x="9655533" y="0"/>
            <a:ext cx="2506871" cy="10202359"/>
          </a:xfrm>
          <a:prstGeom prst="parallelogram">
            <a:avLst>
              <a:gd name="adj" fmla="val 6557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E3CBB636-46E9-4D63-AD74-CC6FD1150D41}"/>
              </a:ext>
            </a:extLst>
          </p:cNvPr>
          <p:cNvCxnSpPr/>
          <p:nvPr/>
        </p:nvCxnSpPr>
        <p:spPr>
          <a:xfrm>
            <a:off x="7315200" y="7078279"/>
            <a:ext cx="0" cy="1056222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E1B33499-3CB6-42A0-A52A-DF258BAFBE79}"/>
              </a:ext>
            </a:extLst>
          </p:cNvPr>
          <p:cNvCxnSpPr/>
          <p:nvPr/>
        </p:nvCxnSpPr>
        <p:spPr>
          <a:xfrm>
            <a:off x="3962400" y="7057551"/>
            <a:ext cx="0" cy="1053086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12">
            <a:extLst>
              <a:ext uri="{FF2B5EF4-FFF2-40B4-BE49-F238E27FC236}">
                <a16:creationId xmlns:a16="http://schemas.microsoft.com/office/drawing/2014/main" id="{0C375414-8E60-404D-8F21-F4CFB6A4E568}"/>
              </a:ext>
            </a:extLst>
          </p:cNvPr>
          <p:cNvSpPr txBox="1"/>
          <p:nvPr/>
        </p:nvSpPr>
        <p:spPr>
          <a:xfrm>
            <a:off x="1789256" y="7284143"/>
            <a:ext cx="2171911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3080"/>
              </a:lnSpc>
              <a:spcBef>
                <a:spcPct val="0"/>
              </a:spcBef>
            </a:pPr>
            <a:r>
              <a:rPr lang="en-US" sz="2400" b="1" spc="-2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entury Gothic" panose="020B0502020202020204" pitchFamily="34" charset="0"/>
              </a:rPr>
              <a:t>TRAFFIC MANAGEMENT</a:t>
            </a:r>
            <a:endParaRPr lang="ru-RU" sz="2400" b="1" spc="-21" dirty="0">
              <a:solidFill>
                <a:prstClr val="black">
                  <a:lumMod val="75000"/>
                  <a:lumOff val="25000"/>
                </a:prstClr>
              </a:solidFill>
              <a:latin typeface="Century Gothic" panose="020B0502020202020204" pitchFamily="34" charset="0"/>
            </a:endParaRPr>
          </a:p>
        </p:txBody>
      </p:sp>
      <p:sp>
        <p:nvSpPr>
          <p:cNvPr id="74" name="TextBox 12">
            <a:extLst>
              <a:ext uri="{FF2B5EF4-FFF2-40B4-BE49-F238E27FC236}">
                <a16:creationId xmlns:a16="http://schemas.microsoft.com/office/drawing/2014/main" id="{F8D69D33-AD0B-4797-8F5E-DF767229CDA9}"/>
              </a:ext>
            </a:extLst>
          </p:cNvPr>
          <p:cNvSpPr txBox="1"/>
          <p:nvPr/>
        </p:nvSpPr>
        <p:spPr>
          <a:xfrm>
            <a:off x="4357453" y="7078279"/>
            <a:ext cx="2863434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914445">
              <a:lnSpc>
                <a:spcPts val="3080"/>
              </a:lnSpc>
              <a:spcBef>
                <a:spcPct val="0"/>
              </a:spcBef>
            </a:pPr>
            <a:r>
              <a:rPr lang="en-US" sz="2000" spc="-21" dirty="0" smtClean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</a:rPr>
              <a:t> Digital Train Control Systems</a:t>
            </a:r>
            <a:endParaRPr lang="ru-RU" sz="2000" spc="-21" dirty="0">
              <a:solidFill>
                <a:schemeClr val="bg2">
                  <a:lumMod val="1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1E1685A3-422B-47B2-81BC-1450120D562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48" y="7136202"/>
            <a:ext cx="856913" cy="856913"/>
          </a:xfrm>
          <a:prstGeom prst="rect">
            <a:avLst/>
          </a:prstGeom>
        </p:spPr>
      </p:pic>
      <p:pic>
        <p:nvPicPr>
          <p:cNvPr id="30" name="Picture 30">
            <a:extLst>
              <a:ext uri="{FF2B5EF4-FFF2-40B4-BE49-F238E27FC236}">
                <a16:creationId xmlns:a16="http://schemas.microsoft.com/office/drawing/2014/main" id="{8A8C04F9-594F-AE48-B882-C7E30D4FDE2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2248" y="2964043"/>
            <a:ext cx="1338669" cy="622007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939" y="7377790"/>
            <a:ext cx="2104631" cy="457200"/>
          </a:xfrm>
          <a:prstGeom prst="rect">
            <a:avLst/>
          </a:prstGeom>
        </p:spPr>
      </p:pic>
      <p:sp>
        <p:nvSpPr>
          <p:cNvPr id="32" name="Параллелограмм 31">
            <a:extLst>
              <a:ext uri="{FF2B5EF4-FFF2-40B4-BE49-F238E27FC236}">
                <a16:creationId xmlns:a16="http://schemas.microsoft.com/office/drawing/2014/main" id="{67B08D73-A776-4FC3-B52D-AE95E01AB47F}"/>
              </a:ext>
            </a:extLst>
          </p:cNvPr>
          <p:cNvSpPr/>
          <p:nvPr/>
        </p:nvSpPr>
        <p:spPr>
          <a:xfrm>
            <a:off x="8844037" y="0"/>
            <a:ext cx="2506871" cy="2478531"/>
          </a:xfrm>
          <a:prstGeom prst="parallelogram">
            <a:avLst>
              <a:gd name="adj" fmla="val 1795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073F82C0-D5BE-444F-BBB3-0FB711B787EA}"/>
              </a:ext>
            </a:extLst>
          </p:cNvPr>
          <p:cNvSpPr txBox="1"/>
          <p:nvPr/>
        </p:nvSpPr>
        <p:spPr>
          <a:xfrm>
            <a:off x="304799" y="122741"/>
            <a:ext cx="10820401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en-US" sz="4000" b="1" spc="159" dirty="0" smtClean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PART OF ONE BUSINESS ECOSYSTEM 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54"/>
          <a:stretch/>
        </p:blipFill>
        <p:spPr>
          <a:xfrm>
            <a:off x="7691634" y="5350661"/>
            <a:ext cx="2138166" cy="339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954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24114" y="6522864"/>
            <a:ext cx="2719086" cy="839217"/>
            <a:chOff x="0" y="0"/>
            <a:chExt cx="1722525" cy="508000"/>
          </a:xfrm>
          <a:solidFill>
            <a:srgbClr val="FF0000"/>
          </a:solidFill>
        </p:grpSpPr>
        <p:sp>
          <p:nvSpPr>
            <p:cNvPr id="3" name="Freeform 3"/>
            <p:cNvSpPr/>
            <p:nvPr/>
          </p:nvSpPr>
          <p:spPr>
            <a:xfrm>
              <a:off x="0" y="49530"/>
              <a:ext cx="1722525" cy="408940"/>
            </a:xfrm>
            <a:custGeom>
              <a:avLst/>
              <a:gdLst/>
              <a:ahLst/>
              <a:cxnLst/>
              <a:rect l="l" t="t" r="r" b="b"/>
              <a:pathLst>
                <a:path w="1722525" h="408940">
                  <a:moveTo>
                    <a:pt x="1516785" y="0"/>
                  </a:moveTo>
                  <a:cubicBezTo>
                    <a:pt x="1416455" y="0"/>
                    <a:pt x="1333905" y="72390"/>
                    <a:pt x="1314855" y="166370"/>
                  </a:cubicBezTo>
                  <a:lnTo>
                    <a:pt x="0" y="166370"/>
                  </a:lnTo>
                  <a:lnTo>
                    <a:pt x="0" y="242570"/>
                  </a:lnTo>
                  <a:lnTo>
                    <a:pt x="1316125" y="242570"/>
                  </a:lnTo>
                  <a:cubicBezTo>
                    <a:pt x="1333905" y="337820"/>
                    <a:pt x="1417725" y="408940"/>
                    <a:pt x="1518055" y="408940"/>
                  </a:cubicBezTo>
                  <a:cubicBezTo>
                    <a:pt x="1631085" y="408940"/>
                    <a:pt x="1722525" y="317500"/>
                    <a:pt x="1722525" y="204470"/>
                  </a:cubicBezTo>
                  <a:cubicBezTo>
                    <a:pt x="1722525" y="91440"/>
                    <a:pt x="1631085" y="0"/>
                    <a:pt x="1516785" y="0"/>
                  </a:cubicBezTo>
                  <a:close/>
                </a:path>
              </a:pathLst>
            </a:custGeom>
            <a:solidFill>
              <a:srgbClr val="F64047"/>
            </a:solidFill>
            <a:ln>
              <a:solidFill>
                <a:srgbClr val="F64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grpSp>
        <p:nvGrpSpPr>
          <p:cNvPr id="4" name="Group 4"/>
          <p:cNvGrpSpPr/>
          <p:nvPr/>
        </p:nvGrpSpPr>
        <p:grpSpPr>
          <a:xfrm rot="-10800000">
            <a:off x="15544800" y="6506795"/>
            <a:ext cx="2743200" cy="871354"/>
            <a:chOff x="0" y="0"/>
            <a:chExt cx="1722525" cy="508000"/>
          </a:xfrm>
          <a:solidFill>
            <a:srgbClr val="FF0000"/>
          </a:solidFill>
        </p:grpSpPr>
        <p:sp>
          <p:nvSpPr>
            <p:cNvPr id="5" name="Freeform 5"/>
            <p:cNvSpPr/>
            <p:nvPr/>
          </p:nvSpPr>
          <p:spPr>
            <a:xfrm>
              <a:off x="0" y="49530"/>
              <a:ext cx="1722525" cy="408940"/>
            </a:xfrm>
            <a:custGeom>
              <a:avLst/>
              <a:gdLst/>
              <a:ahLst/>
              <a:cxnLst/>
              <a:rect l="l" t="t" r="r" b="b"/>
              <a:pathLst>
                <a:path w="1722525" h="408940">
                  <a:moveTo>
                    <a:pt x="1516785" y="0"/>
                  </a:moveTo>
                  <a:cubicBezTo>
                    <a:pt x="1416455" y="0"/>
                    <a:pt x="1333905" y="72390"/>
                    <a:pt x="1314855" y="166370"/>
                  </a:cubicBezTo>
                  <a:lnTo>
                    <a:pt x="0" y="166370"/>
                  </a:lnTo>
                  <a:lnTo>
                    <a:pt x="0" y="242570"/>
                  </a:lnTo>
                  <a:lnTo>
                    <a:pt x="1316125" y="242570"/>
                  </a:lnTo>
                  <a:cubicBezTo>
                    <a:pt x="1333905" y="337820"/>
                    <a:pt x="1417725" y="408940"/>
                    <a:pt x="1518055" y="408940"/>
                  </a:cubicBezTo>
                  <a:cubicBezTo>
                    <a:pt x="1631085" y="408940"/>
                    <a:pt x="1722525" y="317500"/>
                    <a:pt x="1722525" y="204470"/>
                  </a:cubicBezTo>
                  <a:cubicBezTo>
                    <a:pt x="1722525" y="91440"/>
                    <a:pt x="1631085" y="0"/>
                    <a:pt x="1516785" y="0"/>
                  </a:cubicBezTo>
                  <a:close/>
                </a:path>
              </a:pathLst>
            </a:custGeom>
            <a:solidFill>
              <a:srgbClr val="F64047"/>
            </a:solidFill>
            <a:ln>
              <a:solidFill>
                <a:srgbClr val="F64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9F6450D-32FE-41A3-B89A-A490B18D51B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67600" y="1477857"/>
            <a:ext cx="3124200" cy="2904551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35BE7B7-A372-4BB2-827D-3F3FF5DDEE4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96600" y="1477857"/>
            <a:ext cx="3124200" cy="290455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9" t="1000" r="8602" b="1425"/>
          <a:stretch/>
        </p:blipFill>
        <p:spPr>
          <a:xfrm>
            <a:off x="4059600" y="1477857"/>
            <a:ext cx="3103200" cy="290455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3" t="20215" r="45856" b="26713"/>
          <a:stretch/>
        </p:blipFill>
        <p:spPr>
          <a:xfrm>
            <a:off x="613433" y="1477857"/>
            <a:ext cx="3124800" cy="290455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0" y="1477857"/>
            <a:ext cx="3124200" cy="290455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976" y="445700"/>
            <a:ext cx="2078024" cy="451420"/>
          </a:xfrm>
          <a:prstGeom prst="rect">
            <a:avLst/>
          </a:prstGeom>
        </p:spPr>
      </p:pic>
      <p:sp>
        <p:nvSpPr>
          <p:cNvPr id="18" name="TextBox 7"/>
          <p:cNvSpPr txBox="1"/>
          <p:nvPr/>
        </p:nvSpPr>
        <p:spPr>
          <a:xfrm>
            <a:off x="3314700" y="6450030"/>
            <a:ext cx="11658600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We </a:t>
            </a:r>
            <a:r>
              <a:rPr lang="en-US" sz="32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create the safest and most effective </a:t>
            </a: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traffic </a:t>
            </a:r>
            <a:r>
              <a:rPr lang="en-US" sz="32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control solutions </a:t>
            </a: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using advanced technologies</a:t>
            </a:r>
            <a:endParaRPr lang="ru-RU" sz="3200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TextBox 3">
            <a:extLst>
              <a:ext uri="{FF2B5EF4-FFF2-40B4-BE49-F238E27FC236}">
                <a16:creationId xmlns:a16="http://schemas.microsoft.com/office/drawing/2014/main" id="{09526027-D150-4D90-A32A-04D2ADD6BC7C}"/>
              </a:ext>
            </a:extLst>
          </p:cNvPr>
          <p:cNvSpPr txBox="1"/>
          <p:nvPr/>
        </p:nvSpPr>
        <p:spPr>
          <a:xfrm>
            <a:off x="606975" y="269249"/>
            <a:ext cx="8458200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72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159" normalizeH="0" baseline="0" noProof="0" dirty="0" smtClean="0">
                <a:ln>
                  <a:noFill/>
                </a:ln>
                <a:solidFill>
                  <a:srgbClr val="3D4248"/>
                </a:solidFill>
                <a:effectLst/>
                <a:uLnTx/>
                <a:uFillTx/>
                <a:latin typeface="Century Gothic" panose="020B0502020202020204" pitchFamily="34" charset="0"/>
                <a:cs typeface="Clear Sans Regular" panose="020B0604020202020204" charset="0"/>
              </a:rPr>
              <a:t>UNITED BY ONE MISSION</a:t>
            </a:r>
            <a:endParaRPr kumimoji="0" lang="ru-RU" sz="4000" b="1" i="0" u="none" strike="noStrike" kern="1200" cap="none" spc="159" normalizeH="0" baseline="0" noProof="0" dirty="0">
              <a:ln>
                <a:noFill/>
              </a:ln>
              <a:solidFill>
                <a:srgbClr val="3D4248"/>
              </a:solidFill>
              <a:effectLst/>
              <a:uLnTx/>
              <a:uFillTx/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622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B7256A76-4FDA-4D0A-8269-3F241834FCD4}"/>
              </a:ext>
            </a:extLst>
          </p:cNvPr>
          <p:cNvSpPr/>
          <p:nvPr/>
        </p:nvSpPr>
        <p:spPr>
          <a:xfrm>
            <a:off x="13618953" y="1890546"/>
            <a:ext cx="4105213" cy="4880368"/>
          </a:xfrm>
          <a:prstGeom prst="rect">
            <a:avLst/>
          </a:prstGeom>
          <a:gradFill>
            <a:gsLst>
              <a:gs pos="68000">
                <a:schemeClr val="accent1">
                  <a:lumMod val="5000"/>
                  <a:lumOff val="95000"/>
                  <a:alpha val="0"/>
                </a:schemeClr>
              </a:gs>
              <a:gs pos="72000">
                <a:srgbClr val="D9D9D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pic>
        <p:nvPicPr>
          <p:cNvPr id="36" name="Picture 4" descr="Промышленный железнодорожный транспорт, Комбинатская, 17, Омск — 2ГИС">
            <a:extLst>
              <a:ext uri="{FF2B5EF4-FFF2-40B4-BE49-F238E27FC236}">
                <a16:creationId xmlns:a16="http://schemas.microsoft.com/office/drawing/2014/main" id="{033DD4C8-DFFB-424D-83C1-A06F8F71A1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854"/>
          <a:stretch/>
        </p:blipFill>
        <p:spPr bwMode="auto">
          <a:xfrm>
            <a:off x="590856" y="2233198"/>
            <a:ext cx="4120684" cy="3072988"/>
          </a:xfrm>
          <a:prstGeom prst="round2SameRect">
            <a:avLst>
              <a:gd name="adj1" fmla="val 8747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E2DF840-0025-45C5-B517-726D3D0DF217}"/>
              </a:ext>
            </a:extLst>
          </p:cNvPr>
          <p:cNvSpPr/>
          <p:nvPr/>
        </p:nvSpPr>
        <p:spPr>
          <a:xfrm>
            <a:off x="588212" y="1905954"/>
            <a:ext cx="4123327" cy="4864959"/>
          </a:xfrm>
          <a:prstGeom prst="rect">
            <a:avLst/>
          </a:prstGeom>
          <a:gradFill>
            <a:gsLst>
              <a:gs pos="68000">
                <a:schemeClr val="accent1">
                  <a:lumMod val="5000"/>
                  <a:lumOff val="95000"/>
                  <a:alpha val="0"/>
                </a:schemeClr>
              </a:gs>
              <a:gs pos="72000">
                <a:srgbClr val="D9D9D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25" name="TextBox 17">
            <a:extLst>
              <a:ext uri="{FF2B5EF4-FFF2-40B4-BE49-F238E27FC236}">
                <a16:creationId xmlns:a16="http://schemas.microsoft.com/office/drawing/2014/main" id="{AE81A80A-54ED-4486-8533-AC78D683EC54}"/>
              </a:ext>
            </a:extLst>
          </p:cNvPr>
          <p:cNvSpPr txBox="1"/>
          <p:nvPr/>
        </p:nvSpPr>
        <p:spPr>
          <a:xfrm>
            <a:off x="13125607" y="5537388"/>
            <a:ext cx="5086193" cy="541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20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pPr>
              <a:lnSpc>
                <a:spcPts val="3500"/>
              </a:lnSpc>
            </a:pPr>
            <a:r>
              <a:rPr lang="en-US" sz="3000" dirty="0" smtClean="0">
                <a:solidFill>
                  <a:srgbClr val="3D4248"/>
                </a:solidFill>
              </a:rPr>
              <a:t>METRO</a:t>
            </a:r>
            <a:endParaRPr lang="ru-RU" sz="3000" dirty="0">
              <a:solidFill>
                <a:srgbClr val="3D4248"/>
              </a:solidFill>
            </a:endParaRP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5BC9DCE1-ADA7-4C19-A488-C26A070D3ECC}"/>
              </a:ext>
            </a:extLst>
          </p:cNvPr>
          <p:cNvCxnSpPr>
            <a:cxnSpLocks/>
          </p:cNvCxnSpPr>
          <p:nvPr/>
        </p:nvCxnSpPr>
        <p:spPr>
          <a:xfrm flipV="1">
            <a:off x="590855" y="5304458"/>
            <a:ext cx="4120685" cy="11149"/>
          </a:xfrm>
          <a:prstGeom prst="line">
            <a:avLst/>
          </a:prstGeom>
          <a:ln w="381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59E82417-A490-45BC-B90A-A3F3AD59A682}"/>
              </a:ext>
            </a:extLst>
          </p:cNvPr>
          <p:cNvSpPr/>
          <p:nvPr/>
        </p:nvSpPr>
        <p:spPr>
          <a:xfrm>
            <a:off x="4936186" y="1866901"/>
            <a:ext cx="4131614" cy="4882242"/>
          </a:xfrm>
          <a:prstGeom prst="rect">
            <a:avLst/>
          </a:prstGeom>
          <a:gradFill>
            <a:gsLst>
              <a:gs pos="68000">
                <a:schemeClr val="accent1">
                  <a:lumMod val="5000"/>
                  <a:lumOff val="95000"/>
                  <a:alpha val="0"/>
                </a:schemeClr>
              </a:gs>
              <a:gs pos="72000">
                <a:srgbClr val="D9D9D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pic>
        <p:nvPicPr>
          <p:cNvPr id="5126" name="Picture 6" descr="Железнодорожные сюжеты - 2019. ЭП20 в разных &quot;интерьерах ...">
            <a:extLst>
              <a:ext uri="{FF2B5EF4-FFF2-40B4-BE49-F238E27FC236}">
                <a16:creationId xmlns:a16="http://schemas.microsoft.com/office/drawing/2014/main" id="{4308C21D-03A3-4080-A163-A84B850450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52"/>
          <a:stretch/>
        </p:blipFill>
        <p:spPr bwMode="auto">
          <a:xfrm>
            <a:off x="4948207" y="2233198"/>
            <a:ext cx="4100849" cy="3084137"/>
          </a:xfrm>
          <a:prstGeom prst="round2SameRect">
            <a:avLst>
              <a:gd name="adj1" fmla="val 10279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6B2FE438-9A6B-4F15-8237-A477FAE062A7}"/>
              </a:ext>
            </a:extLst>
          </p:cNvPr>
          <p:cNvCxnSpPr>
            <a:cxnSpLocks/>
          </p:cNvCxnSpPr>
          <p:nvPr/>
        </p:nvCxnSpPr>
        <p:spPr>
          <a:xfrm>
            <a:off x="4940639" y="5301043"/>
            <a:ext cx="4111061" cy="17979"/>
          </a:xfrm>
          <a:prstGeom prst="line">
            <a:avLst/>
          </a:prstGeom>
          <a:ln w="381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3243" y="2233198"/>
            <a:ext cx="4110923" cy="3082988"/>
          </a:xfrm>
          <a:prstGeom prst="round2SameRect">
            <a:avLst>
              <a:gd name="adj1" fmla="val 11319"/>
              <a:gd name="adj2" fmla="val 0"/>
            </a:avLst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5723" y="2233198"/>
            <a:ext cx="4090853" cy="3077713"/>
          </a:xfrm>
          <a:prstGeom prst="round2SameRect">
            <a:avLst>
              <a:gd name="adj1" fmla="val 9658"/>
              <a:gd name="adj2" fmla="val 0"/>
            </a:avLst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B7256A76-4FDA-4D0A-8269-3F241834FCD4}"/>
              </a:ext>
            </a:extLst>
          </p:cNvPr>
          <p:cNvSpPr/>
          <p:nvPr/>
        </p:nvSpPr>
        <p:spPr>
          <a:xfrm>
            <a:off x="9292506" y="1890546"/>
            <a:ext cx="4084070" cy="4858597"/>
          </a:xfrm>
          <a:prstGeom prst="rect">
            <a:avLst/>
          </a:prstGeom>
          <a:gradFill>
            <a:gsLst>
              <a:gs pos="68000">
                <a:schemeClr val="accent1">
                  <a:lumMod val="5000"/>
                  <a:lumOff val="95000"/>
                  <a:alpha val="0"/>
                </a:schemeClr>
              </a:gs>
              <a:gs pos="72000">
                <a:srgbClr val="D9D9D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02AE2E6B-BE56-4638-A93A-07D7B982E267}"/>
              </a:ext>
            </a:extLst>
          </p:cNvPr>
          <p:cNvCxnSpPr>
            <a:cxnSpLocks/>
          </p:cNvCxnSpPr>
          <p:nvPr/>
        </p:nvCxnSpPr>
        <p:spPr>
          <a:xfrm>
            <a:off x="9291118" y="5310032"/>
            <a:ext cx="4085458" cy="0"/>
          </a:xfrm>
          <a:prstGeom prst="line">
            <a:avLst/>
          </a:prstGeom>
          <a:ln w="381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17">
            <a:extLst>
              <a:ext uri="{FF2B5EF4-FFF2-40B4-BE49-F238E27FC236}">
                <a16:creationId xmlns:a16="http://schemas.microsoft.com/office/drawing/2014/main" id="{AE81A80A-54ED-4486-8533-AC78D683EC54}"/>
              </a:ext>
            </a:extLst>
          </p:cNvPr>
          <p:cNvSpPr txBox="1"/>
          <p:nvPr/>
        </p:nvSpPr>
        <p:spPr>
          <a:xfrm>
            <a:off x="8683885" y="5537388"/>
            <a:ext cx="5086193" cy="990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20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pPr>
              <a:lnSpc>
                <a:spcPts val="3500"/>
              </a:lnSpc>
            </a:pPr>
            <a:r>
              <a:rPr lang="en-US" sz="3000" dirty="0" smtClean="0">
                <a:solidFill>
                  <a:srgbClr val="3D4248"/>
                </a:solidFill>
              </a:rPr>
              <a:t>COMMUTER</a:t>
            </a:r>
          </a:p>
          <a:p>
            <a:pPr>
              <a:lnSpc>
                <a:spcPts val="3500"/>
              </a:lnSpc>
            </a:pPr>
            <a:r>
              <a:rPr lang="en-US" sz="3000" dirty="0" smtClean="0">
                <a:solidFill>
                  <a:srgbClr val="3D4248"/>
                </a:solidFill>
              </a:rPr>
              <a:t> TRANSPORT</a:t>
            </a:r>
            <a:r>
              <a:rPr lang="ru-RU" sz="3000" dirty="0" smtClean="0">
                <a:solidFill>
                  <a:srgbClr val="3D4248"/>
                </a:solidFill>
              </a:rPr>
              <a:t> </a:t>
            </a:r>
            <a:endParaRPr lang="ru-RU" sz="3000" dirty="0">
              <a:solidFill>
                <a:srgbClr val="3D4248"/>
              </a:solidFill>
            </a:endParaRP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02AE2E6B-BE56-4638-A93A-07D7B982E267}"/>
              </a:ext>
            </a:extLst>
          </p:cNvPr>
          <p:cNvCxnSpPr>
            <a:cxnSpLocks/>
          </p:cNvCxnSpPr>
          <p:nvPr/>
        </p:nvCxnSpPr>
        <p:spPr>
          <a:xfrm flipV="1">
            <a:off x="13613243" y="5303946"/>
            <a:ext cx="4110923" cy="12172"/>
          </a:xfrm>
          <a:prstGeom prst="line">
            <a:avLst/>
          </a:prstGeom>
          <a:ln w="381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3">
            <a:extLst>
              <a:ext uri="{FF2B5EF4-FFF2-40B4-BE49-F238E27FC236}">
                <a16:creationId xmlns:a16="http://schemas.microsoft.com/office/drawing/2014/main" id="{073F82C0-D5BE-444F-BBB3-0FB711B787EA}"/>
              </a:ext>
            </a:extLst>
          </p:cNvPr>
          <p:cNvSpPr txBox="1"/>
          <p:nvPr/>
        </p:nvSpPr>
        <p:spPr>
          <a:xfrm>
            <a:off x="568547" y="302836"/>
            <a:ext cx="12669075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en-US" sz="4000" b="1" spc="159" dirty="0" smtClean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MARKETS WE SERVE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976" y="479287"/>
            <a:ext cx="2078024" cy="451420"/>
          </a:xfrm>
          <a:prstGeom prst="rect">
            <a:avLst/>
          </a:prstGeom>
        </p:spPr>
      </p:pic>
      <p:sp>
        <p:nvSpPr>
          <p:cNvPr id="23" name="TextBox 10">
            <a:extLst>
              <a:ext uri="{FF2B5EF4-FFF2-40B4-BE49-F238E27FC236}">
                <a16:creationId xmlns:a16="http://schemas.microsoft.com/office/drawing/2014/main" id="{0E10E519-D794-4BA0-8855-7DB8C2EBA8E7}"/>
              </a:ext>
            </a:extLst>
          </p:cNvPr>
          <p:cNvSpPr txBox="1"/>
          <p:nvPr/>
        </p:nvSpPr>
        <p:spPr>
          <a:xfrm>
            <a:off x="1903292" y="8232201"/>
            <a:ext cx="14554199" cy="492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20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4000" dirty="0" smtClean="0">
                <a:solidFill>
                  <a:srgbClr val="3D4248"/>
                </a:solidFill>
              </a:rPr>
              <a:t>We work for all segments of rail transport </a:t>
            </a:r>
            <a:endParaRPr lang="en-US" sz="4000" dirty="0">
              <a:solidFill>
                <a:srgbClr val="3D4248"/>
              </a:solidFill>
            </a:endParaRPr>
          </a:p>
        </p:txBody>
      </p:sp>
      <p:sp>
        <p:nvSpPr>
          <p:cNvPr id="30" name="TextBox 17">
            <a:extLst>
              <a:ext uri="{FF2B5EF4-FFF2-40B4-BE49-F238E27FC236}">
                <a16:creationId xmlns:a16="http://schemas.microsoft.com/office/drawing/2014/main" id="{FB41459A-5287-4751-BE16-C163E7EBD3F6}"/>
              </a:ext>
            </a:extLst>
          </p:cNvPr>
          <p:cNvSpPr txBox="1"/>
          <p:nvPr/>
        </p:nvSpPr>
        <p:spPr>
          <a:xfrm>
            <a:off x="81888" y="5537388"/>
            <a:ext cx="5135974" cy="990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20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pPr>
              <a:lnSpc>
                <a:spcPts val="3500"/>
              </a:lnSpc>
            </a:pPr>
            <a:r>
              <a:rPr lang="en-US" sz="3000" dirty="0" smtClean="0">
                <a:solidFill>
                  <a:srgbClr val="3D4248"/>
                </a:solidFill>
              </a:rPr>
              <a:t>INDUSTRIAL</a:t>
            </a:r>
          </a:p>
          <a:p>
            <a:pPr>
              <a:lnSpc>
                <a:spcPts val="3500"/>
              </a:lnSpc>
            </a:pPr>
            <a:r>
              <a:rPr lang="en-US" sz="3000" dirty="0" smtClean="0">
                <a:solidFill>
                  <a:srgbClr val="3D4248"/>
                </a:solidFill>
              </a:rPr>
              <a:t>TRANSPORT</a:t>
            </a:r>
            <a:endParaRPr lang="en-US" sz="3000" dirty="0">
              <a:solidFill>
                <a:srgbClr val="3D4248"/>
              </a:solidFill>
            </a:endParaRPr>
          </a:p>
        </p:txBody>
      </p:sp>
      <p:sp>
        <p:nvSpPr>
          <p:cNvPr id="33" name="TextBox 17">
            <a:extLst>
              <a:ext uri="{FF2B5EF4-FFF2-40B4-BE49-F238E27FC236}">
                <a16:creationId xmlns:a16="http://schemas.microsoft.com/office/drawing/2014/main" id="{B7B821D8-7C88-4795-B9D6-57C3C982608E}"/>
              </a:ext>
            </a:extLst>
          </p:cNvPr>
          <p:cNvSpPr txBox="1"/>
          <p:nvPr/>
        </p:nvSpPr>
        <p:spPr>
          <a:xfrm>
            <a:off x="4284561" y="5537388"/>
            <a:ext cx="5089789" cy="990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lnSpc>
                <a:spcPts val="3000"/>
              </a:lnSpc>
              <a:defRPr sz="2000" b="1">
                <a:solidFill>
                  <a:srgbClr val="0058A6"/>
                </a:solidFill>
                <a:latin typeface="Century Gothic" panose="020B0502020202020204" pitchFamily="34" charset="0"/>
              </a:defRPr>
            </a:lvl1pPr>
          </a:lstStyle>
          <a:p>
            <a:pPr>
              <a:lnSpc>
                <a:spcPts val="3500"/>
              </a:lnSpc>
            </a:pPr>
            <a:r>
              <a:rPr lang="en-US" sz="3000" dirty="0" smtClean="0">
                <a:solidFill>
                  <a:srgbClr val="3D4248"/>
                </a:solidFill>
              </a:rPr>
              <a:t>MAINLINE</a:t>
            </a:r>
          </a:p>
          <a:p>
            <a:pPr>
              <a:lnSpc>
                <a:spcPts val="3500"/>
              </a:lnSpc>
            </a:pPr>
            <a:r>
              <a:rPr lang="en-US" sz="3000" dirty="0" smtClean="0">
                <a:solidFill>
                  <a:srgbClr val="3D4248"/>
                </a:solidFill>
              </a:rPr>
              <a:t> TRANSPORT</a:t>
            </a:r>
            <a:endParaRPr lang="en-US" sz="3000" dirty="0">
              <a:solidFill>
                <a:srgbClr val="3D42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079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3">
            <a:extLst>
              <a:ext uri="{FF2B5EF4-FFF2-40B4-BE49-F238E27FC236}">
                <a16:creationId xmlns:a16="http://schemas.microsoft.com/office/drawing/2014/main" id="{DCF9A2DC-A12D-4987-A412-4DED5A21FBB9}"/>
              </a:ext>
            </a:extLst>
          </p:cNvPr>
          <p:cNvSpPr txBox="1"/>
          <p:nvPr/>
        </p:nvSpPr>
        <p:spPr>
          <a:xfrm>
            <a:off x="304799" y="122741"/>
            <a:ext cx="12669075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en-US" sz="4000" b="1" spc="159" dirty="0" smtClean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LOSE TO CUTOMERS ALL OVER THE WORLD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sp>
        <p:nvSpPr>
          <p:cNvPr id="57" name="Freeform 11">
            <a:extLst>
              <a:ext uri="{FF2B5EF4-FFF2-40B4-BE49-F238E27FC236}">
                <a16:creationId xmlns:a16="http://schemas.microsoft.com/office/drawing/2014/main" id="{AAB669CB-0C9D-4E32-946E-6D01834D4520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021322" y="5944518"/>
            <a:ext cx="277364" cy="580911"/>
          </a:xfrm>
          <a:custGeom>
            <a:avLst/>
            <a:gdLst>
              <a:gd name="T0" fmla="*/ 7024489 w 192"/>
              <a:gd name="T1" fmla="*/ 818398 h 307"/>
              <a:gd name="T2" fmla="*/ 6839611 w 192"/>
              <a:gd name="T3" fmla="*/ 0 h 307"/>
              <a:gd name="T4" fmla="*/ 10536734 w 192"/>
              <a:gd name="T5" fmla="*/ 818398 h 307"/>
              <a:gd name="T6" fmla="*/ 20333957 w 192"/>
              <a:gd name="T7" fmla="*/ 3818841 h 307"/>
              <a:gd name="T8" fmla="*/ 28652589 w 192"/>
              <a:gd name="T9" fmla="*/ 6819284 h 307"/>
              <a:gd name="T10" fmla="*/ 33458977 w 192"/>
              <a:gd name="T11" fmla="*/ 7637682 h 307"/>
              <a:gd name="T12" fmla="*/ 35492201 w 192"/>
              <a:gd name="T13" fmla="*/ 9546580 h 307"/>
              <a:gd name="T14" fmla="*/ 34752690 w 192"/>
              <a:gd name="T15" fmla="*/ 12820170 h 307"/>
              <a:gd name="T16" fmla="*/ 32349711 w 192"/>
              <a:gd name="T17" fmla="*/ 22366750 h 307"/>
              <a:gd name="T18" fmla="*/ 29207222 w 192"/>
              <a:gd name="T19" fmla="*/ 34641148 h 307"/>
              <a:gd name="T20" fmla="*/ 27173568 w 192"/>
              <a:gd name="T21" fmla="*/ 45006648 h 307"/>
              <a:gd name="T22" fmla="*/ 26988691 w 192"/>
              <a:gd name="T23" fmla="*/ 56462648 h 307"/>
              <a:gd name="T24" fmla="*/ 26619365 w 192"/>
              <a:gd name="T25" fmla="*/ 67918649 h 307"/>
              <a:gd name="T26" fmla="*/ 24770589 w 192"/>
              <a:gd name="T27" fmla="*/ 75556330 h 307"/>
              <a:gd name="T28" fmla="*/ 19594446 w 192"/>
              <a:gd name="T29" fmla="*/ 80738819 h 307"/>
              <a:gd name="T30" fmla="*/ 15343121 w 192"/>
              <a:gd name="T31" fmla="*/ 82648240 h 307"/>
              <a:gd name="T32" fmla="*/ 13309468 w 192"/>
              <a:gd name="T33" fmla="*/ 83739262 h 307"/>
              <a:gd name="T34" fmla="*/ 9612346 w 192"/>
              <a:gd name="T35" fmla="*/ 83193490 h 307"/>
              <a:gd name="T36" fmla="*/ 5915223 w 192"/>
              <a:gd name="T37" fmla="*/ 79375171 h 307"/>
              <a:gd name="T38" fmla="*/ 5545468 w 192"/>
              <a:gd name="T39" fmla="*/ 75556330 h 307"/>
              <a:gd name="T40" fmla="*/ 4066877 w 192"/>
              <a:gd name="T41" fmla="*/ 70100694 h 307"/>
              <a:gd name="T42" fmla="*/ 1848346 w 192"/>
              <a:gd name="T43" fmla="*/ 63008785 h 307"/>
              <a:gd name="T44" fmla="*/ 369755 w 192"/>
              <a:gd name="T45" fmla="*/ 57553671 h 307"/>
              <a:gd name="T46" fmla="*/ 0 w 192"/>
              <a:gd name="T47" fmla="*/ 53734830 h 307"/>
              <a:gd name="T48" fmla="*/ 0 w 192"/>
              <a:gd name="T49" fmla="*/ 49098114 h 307"/>
              <a:gd name="T50" fmla="*/ 369755 w 192"/>
              <a:gd name="T51" fmla="*/ 45006648 h 307"/>
              <a:gd name="T52" fmla="*/ 2033224 w 192"/>
              <a:gd name="T53" fmla="*/ 39551012 h 307"/>
              <a:gd name="T54" fmla="*/ 6100101 w 192"/>
              <a:gd name="T55" fmla="*/ 29731285 h 307"/>
              <a:gd name="T56" fmla="*/ 8873265 w 192"/>
              <a:gd name="T57" fmla="*/ 22094125 h 307"/>
              <a:gd name="T58" fmla="*/ 9612346 w 192"/>
              <a:gd name="T59" fmla="*/ 16911636 h 307"/>
              <a:gd name="T60" fmla="*/ 9797223 w 192"/>
              <a:gd name="T61" fmla="*/ 11183375 h 307"/>
              <a:gd name="T62" fmla="*/ 10166978 w 192"/>
              <a:gd name="T63" fmla="*/ 8182932 h 307"/>
              <a:gd name="T64" fmla="*/ 10536734 w 192"/>
              <a:gd name="T65" fmla="*/ 7091909 h 307"/>
              <a:gd name="T66" fmla="*/ 11091366 w 192"/>
              <a:gd name="T67" fmla="*/ 6000886 h 307"/>
              <a:gd name="T68" fmla="*/ 8133755 w 192"/>
              <a:gd name="T69" fmla="*/ 1909420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58" name="Freeform 12">
            <a:extLst>
              <a:ext uri="{FF2B5EF4-FFF2-40B4-BE49-F238E27FC236}">
                <a16:creationId xmlns:a16="http://schemas.microsoft.com/office/drawing/2014/main" id="{5837C8D7-D34A-4EE9-90CE-588212857BC1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293354" y="4081003"/>
            <a:ext cx="576063" cy="977771"/>
          </a:xfrm>
          <a:custGeom>
            <a:avLst/>
            <a:gdLst>
              <a:gd name="T0" fmla="*/ 4824724 w 398"/>
              <a:gd name="T1" fmla="*/ 542876 h 518"/>
              <a:gd name="T2" fmla="*/ 17629195 w 398"/>
              <a:gd name="T3" fmla="*/ 3528694 h 518"/>
              <a:gd name="T4" fmla="*/ 21526021 w 398"/>
              <a:gd name="T5" fmla="*/ 6243074 h 518"/>
              <a:gd name="T6" fmla="*/ 14845502 w 398"/>
              <a:gd name="T7" fmla="*/ 12757585 h 518"/>
              <a:gd name="T8" fmla="*/ 11876574 w 398"/>
              <a:gd name="T9" fmla="*/ 16829155 h 518"/>
              <a:gd name="T10" fmla="*/ 14288936 w 398"/>
              <a:gd name="T11" fmla="*/ 18729221 h 518"/>
              <a:gd name="T12" fmla="*/ 30990234 w 398"/>
              <a:gd name="T13" fmla="*/ 21443601 h 518"/>
              <a:gd name="T14" fmla="*/ 38969982 w 398"/>
              <a:gd name="T15" fmla="*/ 29586219 h 518"/>
              <a:gd name="T16" fmla="*/ 28577872 w 398"/>
              <a:gd name="T17" fmla="*/ 34472103 h 518"/>
              <a:gd name="T18" fmla="*/ 27278643 w 398"/>
              <a:gd name="T19" fmla="*/ 37457921 h 518"/>
              <a:gd name="T20" fmla="*/ 35444057 w 398"/>
              <a:gd name="T21" fmla="*/ 38815111 h 518"/>
              <a:gd name="T22" fmla="*/ 39155217 w 398"/>
              <a:gd name="T23" fmla="*/ 42343804 h 518"/>
              <a:gd name="T24" fmla="*/ 45093504 w 398"/>
              <a:gd name="T25" fmla="*/ 51844134 h 518"/>
              <a:gd name="T26" fmla="*/ 47877197 w 398"/>
              <a:gd name="T27" fmla="*/ 57544331 h 518"/>
              <a:gd name="T28" fmla="*/ 48248529 w 398"/>
              <a:gd name="T29" fmla="*/ 64330281 h 518"/>
              <a:gd name="T30" fmla="*/ 50475225 w 398"/>
              <a:gd name="T31" fmla="*/ 68944727 h 518"/>
              <a:gd name="T32" fmla="*/ 53073252 w 398"/>
              <a:gd name="T33" fmla="*/ 75730155 h 518"/>
              <a:gd name="T34" fmla="*/ 56784412 w 398"/>
              <a:gd name="T35" fmla="*/ 80616039 h 518"/>
              <a:gd name="T36" fmla="*/ 60681669 w 398"/>
              <a:gd name="T37" fmla="*/ 86859112 h 518"/>
              <a:gd name="T38" fmla="*/ 64207163 w 398"/>
              <a:gd name="T39" fmla="*/ 91473558 h 518"/>
              <a:gd name="T40" fmla="*/ 68660986 w 398"/>
              <a:gd name="T41" fmla="*/ 92559310 h 518"/>
              <a:gd name="T42" fmla="*/ 73485710 w 398"/>
              <a:gd name="T43" fmla="*/ 99073822 h 518"/>
              <a:gd name="T44" fmla="*/ 73300475 w 398"/>
              <a:gd name="T45" fmla="*/ 107216961 h 518"/>
              <a:gd name="T46" fmla="*/ 70888113 w 398"/>
              <a:gd name="T47" fmla="*/ 109659903 h 518"/>
              <a:gd name="T48" fmla="*/ 68104420 w 398"/>
              <a:gd name="T49" fmla="*/ 112645721 h 518"/>
              <a:gd name="T50" fmla="*/ 68290086 w 398"/>
              <a:gd name="T51" fmla="*/ 115631539 h 518"/>
              <a:gd name="T52" fmla="*/ 69774550 w 398"/>
              <a:gd name="T53" fmla="*/ 120245463 h 518"/>
              <a:gd name="T54" fmla="*/ 66619956 w 398"/>
              <a:gd name="T55" fmla="*/ 125674223 h 518"/>
              <a:gd name="T56" fmla="*/ 27093408 w 398"/>
              <a:gd name="T57" fmla="*/ 135717428 h 518"/>
              <a:gd name="T58" fmla="*/ 12618806 w 398"/>
              <a:gd name="T59" fmla="*/ 137888932 h 518"/>
              <a:gd name="T60" fmla="*/ 9835113 w 398"/>
              <a:gd name="T61" fmla="*/ 140603312 h 518"/>
              <a:gd name="T62" fmla="*/ 10763011 w 398"/>
              <a:gd name="T63" fmla="*/ 133817362 h 518"/>
              <a:gd name="T64" fmla="*/ 13175372 w 398"/>
              <a:gd name="T65" fmla="*/ 129202917 h 518"/>
              <a:gd name="T66" fmla="*/ 21155121 w 398"/>
              <a:gd name="T67" fmla="*/ 124317033 h 518"/>
              <a:gd name="T68" fmla="*/ 31918131 w 398"/>
              <a:gd name="T69" fmla="*/ 119159711 h 518"/>
              <a:gd name="T70" fmla="*/ 33216930 w 398"/>
              <a:gd name="T71" fmla="*/ 115631539 h 518"/>
              <a:gd name="T72" fmla="*/ 31732466 w 398"/>
              <a:gd name="T73" fmla="*/ 117802521 h 518"/>
              <a:gd name="T74" fmla="*/ 20598124 w 398"/>
              <a:gd name="T75" fmla="*/ 117259646 h 518"/>
              <a:gd name="T76" fmla="*/ 14103270 w 398"/>
              <a:gd name="T77" fmla="*/ 114002911 h 518"/>
              <a:gd name="T78" fmla="*/ 14288936 w 398"/>
              <a:gd name="T79" fmla="*/ 109117027 h 518"/>
              <a:gd name="T80" fmla="*/ 17629195 w 398"/>
              <a:gd name="T81" fmla="*/ 106131209 h 518"/>
              <a:gd name="T82" fmla="*/ 16144731 w 398"/>
              <a:gd name="T83" fmla="*/ 95545128 h 518"/>
              <a:gd name="T84" fmla="*/ 19484991 w 398"/>
              <a:gd name="T85" fmla="*/ 89302054 h 518"/>
              <a:gd name="T86" fmla="*/ 28577872 w 398"/>
              <a:gd name="T87" fmla="*/ 83873295 h 518"/>
              <a:gd name="T88" fmla="*/ 31918131 w 398"/>
              <a:gd name="T89" fmla="*/ 78987411 h 518"/>
              <a:gd name="T90" fmla="*/ 27464308 w 398"/>
              <a:gd name="T91" fmla="*/ 73558651 h 518"/>
              <a:gd name="T92" fmla="*/ 25794179 w 398"/>
              <a:gd name="T93" fmla="*/ 67044661 h 518"/>
              <a:gd name="T94" fmla="*/ 17443530 w 398"/>
              <a:gd name="T95" fmla="*/ 64873157 h 518"/>
              <a:gd name="T96" fmla="*/ 14845502 w 398"/>
              <a:gd name="T97" fmla="*/ 58630083 h 518"/>
              <a:gd name="T98" fmla="*/ 16701298 w 398"/>
              <a:gd name="T99" fmla="*/ 52115572 h 518"/>
              <a:gd name="T100" fmla="*/ 18557093 w 398"/>
              <a:gd name="T101" fmla="*/ 45601060 h 518"/>
              <a:gd name="T102" fmla="*/ 13546704 w 398"/>
              <a:gd name="T103" fmla="*/ 50486944 h 518"/>
              <a:gd name="T104" fmla="*/ 4082492 w 398"/>
              <a:gd name="T105" fmla="*/ 43972432 h 518"/>
              <a:gd name="T106" fmla="*/ 3711591 w 398"/>
              <a:gd name="T107" fmla="*/ 38543673 h 518"/>
              <a:gd name="T108" fmla="*/ 2598028 w 398"/>
              <a:gd name="T109" fmla="*/ 35557855 h 518"/>
              <a:gd name="T110" fmla="*/ 3711591 w 398"/>
              <a:gd name="T111" fmla="*/ 17100593 h 518"/>
              <a:gd name="T112" fmla="*/ 3525925 w 398"/>
              <a:gd name="T113" fmla="*/ 13300461 h 518"/>
              <a:gd name="T114" fmla="*/ 742232 w 398"/>
              <a:gd name="T115" fmla="*/ 10857519 h 518"/>
              <a:gd name="T116" fmla="*/ 3711591 w 398"/>
              <a:gd name="T117" fmla="*/ 5157322 h 518"/>
              <a:gd name="T118" fmla="*/ 556566 w 398"/>
              <a:gd name="T119" fmla="*/ 2442942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59" name="Freeform 13">
            <a:extLst>
              <a:ext uri="{FF2B5EF4-FFF2-40B4-BE49-F238E27FC236}">
                <a16:creationId xmlns:a16="http://schemas.microsoft.com/office/drawing/2014/main" id="{B0CF71F9-7B45-4E05-BA41-8188E8C30314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498822" y="5179553"/>
            <a:ext cx="570731" cy="276077"/>
          </a:xfrm>
          <a:custGeom>
            <a:avLst/>
            <a:gdLst>
              <a:gd name="T0" fmla="*/ 37567961 w 382"/>
              <a:gd name="T1" fmla="*/ 5566719 h 148"/>
              <a:gd name="T2" fmla="*/ 34997797 w 382"/>
              <a:gd name="T3" fmla="*/ 8217758 h 148"/>
              <a:gd name="T4" fmla="*/ 34404614 w 382"/>
              <a:gd name="T5" fmla="*/ 11928904 h 148"/>
              <a:gd name="T6" fmla="*/ 33218248 w 382"/>
              <a:gd name="T7" fmla="*/ 14049632 h 148"/>
              <a:gd name="T8" fmla="*/ 32822497 w 382"/>
              <a:gd name="T9" fmla="*/ 16170361 h 148"/>
              <a:gd name="T10" fmla="*/ 34997797 w 382"/>
              <a:gd name="T11" fmla="*/ 19616351 h 148"/>
              <a:gd name="T12" fmla="*/ 30647640 w 382"/>
              <a:gd name="T13" fmla="*/ 22797186 h 148"/>
              <a:gd name="T14" fmla="*/ 21354588 w 382"/>
              <a:gd name="T15" fmla="*/ 25448226 h 148"/>
              <a:gd name="T16" fmla="*/ 15224882 w 382"/>
              <a:gd name="T17" fmla="*/ 25713381 h 148"/>
              <a:gd name="T18" fmla="*/ 10281987 w 382"/>
              <a:gd name="T19" fmla="*/ 25183070 h 148"/>
              <a:gd name="T20" fmla="*/ 791059 w 382"/>
              <a:gd name="T21" fmla="*/ 29424527 h 148"/>
              <a:gd name="T22" fmla="*/ 0 w 382"/>
              <a:gd name="T23" fmla="*/ 34196295 h 148"/>
              <a:gd name="T24" fmla="*/ 791059 w 382"/>
              <a:gd name="T25" fmla="*/ 34726091 h 148"/>
              <a:gd name="T26" fmla="*/ 2372732 w 382"/>
              <a:gd name="T27" fmla="*/ 34726091 h 148"/>
              <a:gd name="T28" fmla="*/ 10084111 w 382"/>
              <a:gd name="T29" fmla="*/ 34196295 h 148"/>
              <a:gd name="T30" fmla="*/ 22540954 w 382"/>
              <a:gd name="T31" fmla="*/ 33665984 h 148"/>
              <a:gd name="T32" fmla="*/ 24320503 w 382"/>
              <a:gd name="T33" fmla="*/ 35521557 h 148"/>
              <a:gd name="T34" fmla="*/ 27088542 w 382"/>
              <a:gd name="T35" fmla="*/ 37377130 h 148"/>
              <a:gd name="T36" fmla="*/ 31438699 w 382"/>
              <a:gd name="T37" fmla="*/ 38967547 h 148"/>
              <a:gd name="T38" fmla="*/ 36579470 w 382"/>
              <a:gd name="T39" fmla="*/ 39232703 h 148"/>
              <a:gd name="T40" fmla="*/ 41522810 w 382"/>
              <a:gd name="T41" fmla="*/ 39232703 h 148"/>
              <a:gd name="T42" fmla="*/ 46070399 w 382"/>
              <a:gd name="T43" fmla="*/ 39232703 h 148"/>
              <a:gd name="T44" fmla="*/ 50420555 w 382"/>
              <a:gd name="T45" fmla="*/ 39232703 h 148"/>
              <a:gd name="T46" fmla="*/ 54374961 w 382"/>
              <a:gd name="T47" fmla="*/ 37907441 h 148"/>
              <a:gd name="T48" fmla="*/ 59515732 w 382"/>
              <a:gd name="T49" fmla="*/ 35521557 h 148"/>
              <a:gd name="T50" fmla="*/ 66040745 w 382"/>
              <a:gd name="T51" fmla="*/ 32075566 h 148"/>
              <a:gd name="T52" fmla="*/ 69797719 w 382"/>
              <a:gd name="T53" fmla="*/ 27303799 h 148"/>
              <a:gd name="T54" fmla="*/ 73554248 w 382"/>
              <a:gd name="T55" fmla="*/ 19086041 h 148"/>
              <a:gd name="T56" fmla="*/ 74345307 w 382"/>
              <a:gd name="T57" fmla="*/ 13784477 h 148"/>
              <a:gd name="T58" fmla="*/ 71774699 w 382"/>
              <a:gd name="T59" fmla="*/ 11663749 h 148"/>
              <a:gd name="T60" fmla="*/ 70588333 w 382"/>
              <a:gd name="T61" fmla="*/ 8482914 h 148"/>
              <a:gd name="T62" fmla="*/ 68611353 w 382"/>
              <a:gd name="T63" fmla="*/ 5831874 h 148"/>
              <a:gd name="T64" fmla="*/ 66040745 w 382"/>
              <a:gd name="T65" fmla="*/ 4506612 h 148"/>
              <a:gd name="T66" fmla="*/ 63074830 w 382"/>
              <a:gd name="T67" fmla="*/ 2120728 h 148"/>
              <a:gd name="T68" fmla="*/ 40138568 w 382"/>
              <a:gd name="T69" fmla="*/ 47717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60" name="Freeform 14">
            <a:extLst>
              <a:ext uri="{FF2B5EF4-FFF2-40B4-BE49-F238E27FC236}">
                <a16:creationId xmlns:a16="http://schemas.microsoft.com/office/drawing/2014/main" id="{BABBCC50-D41A-465A-9FB2-9B7BB3C4C2C6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538118" y="4658554"/>
            <a:ext cx="4304480" cy="3761546"/>
          </a:xfrm>
          <a:custGeom>
            <a:avLst/>
            <a:gdLst>
              <a:gd name="T0" fmla="*/ 71018374 w 2936"/>
              <a:gd name="T1" fmla="*/ 293580501 h 1983"/>
              <a:gd name="T2" fmla="*/ 73303082 w 2936"/>
              <a:gd name="T3" fmla="*/ 324007352 h 1983"/>
              <a:gd name="T4" fmla="*/ 91010004 w 2936"/>
              <a:gd name="T5" fmla="*/ 372252092 h 1983"/>
              <a:gd name="T6" fmla="*/ 146225670 w 2936"/>
              <a:gd name="T7" fmla="*/ 408984210 h 1983"/>
              <a:gd name="T8" fmla="*/ 197252413 w 2936"/>
              <a:gd name="T9" fmla="*/ 425430888 h 1983"/>
              <a:gd name="T10" fmla="*/ 214007229 w 2936"/>
              <a:gd name="T11" fmla="*/ 419126145 h 1983"/>
              <a:gd name="T12" fmla="*/ 266747503 w 2936"/>
              <a:gd name="T13" fmla="*/ 396922894 h 1983"/>
              <a:gd name="T14" fmla="*/ 294545364 w 2936"/>
              <a:gd name="T15" fmla="*/ 422690036 h 1983"/>
              <a:gd name="T16" fmla="*/ 300257571 w 2936"/>
              <a:gd name="T17" fmla="*/ 465178203 h 1983"/>
              <a:gd name="T18" fmla="*/ 305969340 w 2936"/>
              <a:gd name="T19" fmla="*/ 486011290 h 1983"/>
              <a:gd name="T20" fmla="*/ 324818617 w 2936"/>
              <a:gd name="T21" fmla="*/ 524113572 h 1983"/>
              <a:gd name="T22" fmla="*/ 350712701 w 2936"/>
              <a:gd name="T23" fmla="*/ 509585228 h 1983"/>
              <a:gd name="T24" fmla="*/ 394504390 w 2936"/>
              <a:gd name="T25" fmla="*/ 508214541 h 1983"/>
              <a:gd name="T26" fmla="*/ 431251273 w 2936"/>
              <a:gd name="T27" fmla="*/ 543575971 h 1983"/>
              <a:gd name="T28" fmla="*/ 448767948 w 2936"/>
              <a:gd name="T29" fmla="*/ 523565401 h 1983"/>
              <a:gd name="T30" fmla="*/ 467807472 w 2936"/>
              <a:gd name="T31" fmla="*/ 511504086 h 1983"/>
              <a:gd name="T32" fmla="*/ 484752971 w 2936"/>
              <a:gd name="T33" fmla="*/ 500539634 h 1983"/>
              <a:gd name="T34" fmla="*/ 510837301 w 2936"/>
              <a:gd name="T35" fmla="*/ 474772491 h 1983"/>
              <a:gd name="T36" fmla="*/ 517691861 w 2936"/>
              <a:gd name="T37" fmla="*/ 442974429 h 1983"/>
              <a:gd name="T38" fmla="*/ 531971722 w 2936"/>
              <a:gd name="T39" fmla="*/ 389247464 h 1983"/>
              <a:gd name="T40" fmla="*/ 515026223 w 2936"/>
              <a:gd name="T41" fmla="*/ 376912324 h 1983"/>
              <a:gd name="T42" fmla="*/ 502650577 w 2936"/>
              <a:gd name="T43" fmla="*/ 348951977 h 1983"/>
              <a:gd name="T44" fmla="*/ 508172099 w 2936"/>
              <a:gd name="T45" fmla="*/ 336343015 h 1983"/>
              <a:gd name="T46" fmla="*/ 482087333 w 2936"/>
              <a:gd name="T47" fmla="*/ 290839126 h 1983"/>
              <a:gd name="T48" fmla="*/ 491797778 w 2936"/>
              <a:gd name="T49" fmla="*/ 272199244 h 1983"/>
              <a:gd name="T50" fmla="*/ 467046048 w 2936"/>
              <a:gd name="T51" fmla="*/ 263701297 h 1983"/>
              <a:gd name="T52" fmla="*/ 444198096 w 2936"/>
              <a:gd name="T53" fmla="*/ 243142557 h 1983"/>
              <a:gd name="T54" fmla="*/ 450861973 w 2936"/>
              <a:gd name="T55" fmla="*/ 229162383 h 1983"/>
              <a:gd name="T56" fmla="*/ 465141834 w 2936"/>
              <a:gd name="T57" fmla="*/ 207232956 h 1983"/>
              <a:gd name="T58" fmla="*/ 475233209 w 2936"/>
              <a:gd name="T59" fmla="*/ 213812046 h 1983"/>
              <a:gd name="T60" fmla="*/ 482087333 w 2936"/>
              <a:gd name="T61" fmla="*/ 233822616 h 1983"/>
              <a:gd name="T62" fmla="*/ 511980091 w 2936"/>
              <a:gd name="T63" fmla="*/ 209151814 h 1983"/>
              <a:gd name="T64" fmla="*/ 538445352 w 2936"/>
              <a:gd name="T65" fmla="*/ 184481535 h 1983"/>
              <a:gd name="T66" fmla="*/ 549488398 w 2936"/>
              <a:gd name="T67" fmla="*/ 154602331 h 1983"/>
              <a:gd name="T68" fmla="*/ 557484876 w 2936"/>
              <a:gd name="T69" fmla="*/ 135414278 h 1983"/>
              <a:gd name="T70" fmla="*/ 550820999 w 2936"/>
              <a:gd name="T71" fmla="*/ 84154340 h 1983"/>
              <a:gd name="T72" fmla="*/ 518263038 w 2936"/>
              <a:gd name="T73" fmla="*/ 93474282 h 1983"/>
              <a:gd name="T74" fmla="*/ 468569332 w 2936"/>
              <a:gd name="T75" fmla="*/ 56193994 h 1983"/>
              <a:gd name="T76" fmla="*/ 437915149 w 2936"/>
              <a:gd name="T77" fmla="*/ 24396455 h 1983"/>
              <a:gd name="T78" fmla="*/ 376987714 w 2936"/>
              <a:gd name="T79" fmla="*/ 14528344 h 1983"/>
              <a:gd name="T80" fmla="*/ 382128743 w 2936"/>
              <a:gd name="T81" fmla="*/ 42488167 h 1983"/>
              <a:gd name="T82" fmla="*/ 371656438 w 2936"/>
              <a:gd name="T83" fmla="*/ 62224913 h 1983"/>
              <a:gd name="T84" fmla="*/ 385555805 w 2936"/>
              <a:gd name="T85" fmla="*/ 95941309 h 1983"/>
              <a:gd name="T86" fmla="*/ 408594004 w 2936"/>
              <a:gd name="T87" fmla="*/ 101423535 h 1983"/>
              <a:gd name="T88" fmla="*/ 388601937 w 2936"/>
              <a:gd name="T89" fmla="*/ 124723650 h 1983"/>
              <a:gd name="T90" fmla="*/ 360042215 w 2936"/>
              <a:gd name="T91" fmla="*/ 156247365 h 1983"/>
              <a:gd name="T92" fmla="*/ 310348509 w 2936"/>
              <a:gd name="T93" fmla="*/ 195445987 h 1983"/>
              <a:gd name="T94" fmla="*/ 233808612 w 2936"/>
              <a:gd name="T95" fmla="*/ 180643820 h 1983"/>
              <a:gd name="T96" fmla="*/ 197252413 w 2936"/>
              <a:gd name="T97" fmla="*/ 153505990 h 1983"/>
              <a:gd name="T98" fmla="*/ 143179102 w 2936"/>
              <a:gd name="T99" fmla="*/ 135688625 h 1983"/>
              <a:gd name="T100" fmla="*/ 130612772 w 2936"/>
              <a:gd name="T101" fmla="*/ 103890563 h 1983"/>
              <a:gd name="T102" fmla="*/ 97483634 w 2936"/>
              <a:gd name="T103" fmla="*/ 81961136 h 1983"/>
              <a:gd name="T104" fmla="*/ 81871173 w 2936"/>
              <a:gd name="T105" fmla="*/ 85250681 h 1983"/>
              <a:gd name="T106" fmla="*/ 80538136 w 2936"/>
              <a:gd name="T107" fmla="*/ 106357591 h 1983"/>
              <a:gd name="T108" fmla="*/ 58071550 w 2936"/>
              <a:gd name="T109" fmla="*/ 104713080 h 1983"/>
              <a:gd name="T110" fmla="*/ 43220513 w 2936"/>
              <a:gd name="T111" fmla="*/ 138977647 h 1983"/>
              <a:gd name="T112" fmla="*/ 49503459 w 2936"/>
              <a:gd name="T113" fmla="*/ 163100278 h 1983"/>
              <a:gd name="T114" fmla="*/ 47980175 w 2936"/>
              <a:gd name="T115" fmla="*/ 196268504 h 1983"/>
              <a:gd name="T116" fmla="*/ 22467022 w 2936"/>
              <a:gd name="T117" fmla="*/ 214086393 h 1983"/>
              <a:gd name="T118" fmla="*/ 7615984 w 2936"/>
              <a:gd name="T119" fmla="*/ 245061414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61" name="Freeform 15">
            <a:extLst>
              <a:ext uri="{FF2B5EF4-FFF2-40B4-BE49-F238E27FC236}">
                <a16:creationId xmlns:a16="http://schemas.microsoft.com/office/drawing/2014/main" id="{AD5A461E-9C71-4EB5-994A-B76D1B91A60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117559" y="2970938"/>
            <a:ext cx="741416" cy="989274"/>
          </a:xfrm>
          <a:custGeom>
            <a:avLst/>
            <a:gdLst>
              <a:gd name="T0" fmla="*/ 66132051 w 504"/>
              <a:gd name="T1" fmla="*/ 133865368 h 524"/>
              <a:gd name="T2" fmla="*/ 49071901 w 504"/>
              <a:gd name="T3" fmla="*/ 137123730 h 524"/>
              <a:gd name="T4" fmla="*/ 45046571 w 504"/>
              <a:gd name="T5" fmla="*/ 140382092 h 524"/>
              <a:gd name="T6" fmla="*/ 40254616 w 504"/>
              <a:gd name="T7" fmla="*/ 141740047 h 524"/>
              <a:gd name="T8" fmla="*/ 29711438 w 504"/>
              <a:gd name="T9" fmla="*/ 142283020 h 524"/>
              <a:gd name="T10" fmla="*/ 20318855 w 504"/>
              <a:gd name="T11" fmla="*/ 141740047 h 524"/>
              <a:gd name="T12" fmla="*/ 18018541 w 504"/>
              <a:gd name="T13" fmla="*/ 140110605 h 524"/>
              <a:gd name="T14" fmla="*/ 13609679 w 504"/>
              <a:gd name="T15" fmla="*/ 138210198 h 524"/>
              <a:gd name="T16" fmla="*/ 6900941 w 504"/>
              <a:gd name="T17" fmla="*/ 134680349 h 524"/>
              <a:gd name="T18" fmla="*/ 4217096 w 504"/>
              <a:gd name="T19" fmla="*/ 131964961 h 524"/>
              <a:gd name="T20" fmla="*/ 3833564 w 504"/>
              <a:gd name="T21" fmla="*/ 129521059 h 524"/>
              <a:gd name="T22" fmla="*/ 5175487 w 504"/>
              <a:gd name="T23" fmla="*/ 125719724 h 524"/>
              <a:gd name="T24" fmla="*/ 6133878 w 504"/>
              <a:gd name="T25" fmla="*/ 120831920 h 524"/>
              <a:gd name="T26" fmla="*/ 5367253 w 504"/>
              <a:gd name="T27" fmla="*/ 117302072 h 524"/>
              <a:gd name="T28" fmla="*/ 1916782 w 504"/>
              <a:gd name="T29" fmla="*/ 113229249 h 524"/>
              <a:gd name="T30" fmla="*/ 191766 w 504"/>
              <a:gd name="T31" fmla="*/ 110513861 h 524"/>
              <a:gd name="T32" fmla="*/ 191766 w 504"/>
              <a:gd name="T33" fmla="*/ 106169031 h 524"/>
              <a:gd name="T34" fmla="*/ 3258705 w 504"/>
              <a:gd name="T35" fmla="*/ 97751900 h 524"/>
              <a:gd name="T36" fmla="*/ 9200817 w 504"/>
              <a:gd name="T37" fmla="*/ 89062761 h 524"/>
              <a:gd name="T38" fmla="*/ 16485290 w 504"/>
              <a:gd name="T39" fmla="*/ 81188083 h 524"/>
              <a:gd name="T40" fmla="*/ 23769325 w 504"/>
              <a:gd name="T41" fmla="*/ 75757306 h 524"/>
              <a:gd name="T42" fmla="*/ 30669829 w 504"/>
              <a:gd name="T43" fmla="*/ 73856898 h 524"/>
              <a:gd name="T44" fmla="*/ 29711438 w 504"/>
              <a:gd name="T45" fmla="*/ 71684483 h 524"/>
              <a:gd name="T46" fmla="*/ 27219796 w 504"/>
              <a:gd name="T47" fmla="*/ 70327050 h 524"/>
              <a:gd name="T48" fmla="*/ 25494342 w 504"/>
              <a:gd name="T49" fmla="*/ 68154635 h 524"/>
              <a:gd name="T50" fmla="*/ 24344185 w 504"/>
              <a:gd name="T51" fmla="*/ 62180884 h 524"/>
              <a:gd name="T52" fmla="*/ 23769325 w 504"/>
              <a:gd name="T53" fmla="*/ 52948772 h 524"/>
              <a:gd name="T54" fmla="*/ 22043871 w 504"/>
              <a:gd name="T55" fmla="*/ 43716660 h 524"/>
              <a:gd name="T56" fmla="*/ 19168698 w 504"/>
              <a:gd name="T57" fmla="*/ 36385476 h 524"/>
              <a:gd name="T58" fmla="*/ 13034820 w 504"/>
              <a:gd name="T59" fmla="*/ 24437975 h 524"/>
              <a:gd name="T60" fmla="*/ 16485290 w 504"/>
              <a:gd name="T61" fmla="*/ 16291810 h 524"/>
              <a:gd name="T62" fmla="*/ 20318855 w 504"/>
              <a:gd name="T63" fmla="*/ 15205863 h 524"/>
              <a:gd name="T64" fmla="*/ 24919482 w 504"/>
              <a:gd name="T65" fmla="*/ 15748836 h 524"/>
              <a:gd name="T66" fmla="*/ 26644499 w 504"/>
              <a:gd name="T67" fmla="*/ 16563296 h 524"/>
              <a:gd name="T68" fmla="*/ 30669829 w 504"/>
              <a:gd name="T69" fmla="*/ 15205863 h 524"/>
              <a:gd name="T70" fmla="*/ 31436892 w 504"/>
              <a:gd name="T71" fmla="*/ 8960626 h 524"/>
              <a:gd name="T72" fmla="*/ 32778377 w 504"/>
              <a:gd name="T73" fmla="*/ 3529849 h 524"/>
              <a:gd name="T74" fmla="*/ 35845754 w 504"/>
              <a:gd name="T75" fmla="*/ 0 h 524"/>
              <a:gd name="T76" fmla="*/ 43129789 w 504"/>
              <a:gd name="T77" fmla="*/ 0 h 524"/>
              <a:gd name="T78" fmla="*/ 48688808 w 504"/>
              <a:gd name="T79" fmla="*/ 2172415 h 524"/>
              <a:gd name="T80" fmla="*/ 53672529 w 504"/>
              <a:gd name="T81" fmla="*/ 5702264 h 524"/>
              <a:gd name="T82" fmla="*/ 53480763 w 504"/>
              <a:gd name="T83" fmla="*/ 16834783 h 524"/>
              <a:gd name="T84" fmla="*/ 55972843 w 504"/>
              <a:gd name="T85" fmla="*/ 20908126 h 524"/>
              <a:gd name="T86" fmla="*/ 61148330 w 504"/>
              <a:gd name="T87" fmla="*/ 25523922 h 524"/>
              <a:gd name="T88" fmla="*/ 68240599 w 504"/>
              <a:gd name="T89" fmla="*/ 32312133 h 524"/>
              <a:gd name="T90" fmla="*/ 66323817 w 504"/>
              <a:gd name="T91" fmla="*/ 36656963 h 524"/>
              <a:gd name="T92" fmla="*/ 65173660 w 504"/>
              <a:gd name="T93" fmla="*/ 41544245 h 524"/>
              <a:gd name="T94" fmla="*/ 65940723 w 504"/>
              <a:gd name="T95" fmla="*/ 47789482 h 524"/>
              <a:gd name="T96" fmla="*/ 69582522 w 504"/>
              <a:gd name="T97" fmla="*/ 54306727 h 524"/>
              <a:gd name="T98" fmla="*/ 72458133 w 504"/>
              <a:gd name="T99" fmla="*/ 57021594 h 524"/>
              <a:gd name="T100" fmla="*/ 73991384 w 504"/>
              <a:gd name="T101" fmla="*/ 69512069 h 524"/>
              <a:gd name="T102" fmla="*/ 77441854 w 504"/>
              <a:gd name="T103" fmla="*/ 78472694 h 524"/>
              <a:gd name="T104" fmla="*/ 82809107 w 504"/>
              <a:gd name="T105" fmla="*/ 85532913 h 524"/>
              <a:gd name="T106" fmla="*/ 88751220 w 504"/>
              <a:gd name="T107" fmla="*/ 90963168 h 524"/>
              <a:gd name="T108" fmla="*/ 89326517 w 504"/>
              <a:gd name="T109" fmla="*/ 105897544 h 524"/>
              <a:gd name="T110" fmla="*/ 76099932 w 504"/>
              <a:gd name="T111" fmla="*/ 124090282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62" name="Freeform 16">
            <a:extLst>
              <a:ext uri="{FF2B5EF4-FFF2-40B4-BE49-F238E27FC236}">
                <a16:creationId xmlns:a16="http://schemas.microsoft.com/office/drawing/2014/main" id="{8A782595-1562-4FE4-B38F-6A196567A6E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232126" y="4483614"/>
            <a:ext cx="613401" cy="862740"/>
          </a:xfrm>
          <a:custGeom>
            <a:avLst/>
            <a:gdLst>
              <a:gd name="T0" fmla="*/ 74008467 w 438"/>
              <a:gd name="T1" fmla="*/ 52967765 h 451"/>
              <a:gd name="T2" fmla="*/ 70881572 w 438"/>
              <a:gd name="T3" fmla="*/ 35683374 h 451"/>
              <a:gd name="T4" fmla="*/ 67233250 w 438"/>
              <a:gd name="T5" fmla="*/ 23695813 h 451"/>
              <a:gd name="T6" fmla="*/ 63758736 w 438"/>
              <a:gd name="T7" fmla="*/ 17284390 h 451"/>
              <a:gd name="T8" fmla="*/ 61847671 w 438"/>
              <a:gd name="T9" fmla="*/ 16169268 h 451"/>
              <a:gd name="T10" fmla="*/ 58199348 w 438"/>
              <a:gd name="T11" fmla="*/ 12545122 h 451"/>
              <a:gd name="T12" fmla="*/ 54551026 w 438"/>
              <a:gd name="T13" fmla="*/ 10593659 h 451"/>
              <a:gd name="T14" fmla="*/ 50902704 w 438"/>
              <a:gd name="T15" fmla="*/ 10593659 h 451"/>
              <a:gd name="T16" fmla="*/ 47949201 w 438"/>
              <a:gd name="T17" fmla="*/ 11708780 h 451"/>
              <a:gd name="T18" fmla="*/ 43606059 w 438"/>
              <a:gd name="T19" fmla="*/ 16169268 h 451"/>
              <a:gd name="T20" fmla="*/ 40826365 w 438"/>
              <a:gd name="T21" fmla="*/ 18678293 h 451"/>
              <a:gd name="T22" fmla="*/ 37699053 w 438"/>
              <a:gd name="T23" fmla="*/ 18399512 h 451"/>
              <a:gd name="T24" fmla="*/ 30229016 w 438"/>
              <a:gd name="T25" fmla="*/ 10314878 h 451"/>
              <a:gd name="T26" fmla="*/ 19631250 w 438"/>
              <a:gd name="T27" fmla="*/ 0 h 451"/>
              <a:gd name="T28" fmla="*/ 16504355 w 438"/>
              <a:gd name="T29" fmla="*/ 6411951 h 451"/>
              <a:gd name="T30" fmla="*/ 16156737 w 438"/>
              <a:gd name="T31" fmla="*/ 11987561 h 451"/>
              <a:gd name="T32" fmla="*/ 17025365 w 438"/>
              <a:gd name="T33" fmla="*/ 14496585 h 451"/>
              <a:gd name="T34" fmla="*/ 20673688 w 438"/>
              <a:gd name="T35" fmla="*/ 19235854 h 451"/>
              <a:gd name="T36" fmla="*/ 17199174 w 438"/>
              <a:gd name="T37" fmla="*/ 20350976 h 451"/>
              <a:gd name="T38" fmla="*/ 11465977 w 438"/>
              <a:gd name="T39" fmla="*/ 25926057 h 451"/>
              <a:gd name="T40" fmla="*/ 10076339 w 438"/>
              <a:gd name="T41" fmla="*/ 33174350 h 451"/>
              <a:gd name="T42" fmla="*/ 7817655 w 438"/>
              <a:gd name="T43" fmla="*/ 38471179 h 451"/>
              <a:gd name="T44" fmla="*/ 6080398 w 438"/>
              <a:gd name="T45" fmla="*/ 43489228 h 451"/>
              <a:gd name="T46" fmla="*/ 5733197 w 438"/>
              <a:gd name="T47" fmla="*/ 49901179 h 451"/>
              <a:gd name="T48" fmla="*/ 1216246 w 438"/>
              <a:gd name="T49" fmla="*/ 66348700 h 451"/>
              <a:gd name="T50" fmla="*/ 2605885 w 438"/>
              <a:gd name="T51" fmla="*/ 68578944 h 451"/>
              <a:gd name="T52" fmla="*/ 4516951 w 438"/>
              <a:gd name="T53" fmla="*/ 68857725 h 451"/>
              <a:gd name="T54" fmla="*/ 5733197 w 438"/>
              <a:gd name="T55" fmla="*/ 96456993 h 451"/>
              <a:gd name="T56" fmla="*/ 16156737 w 438"/>
              <a:gd name="T57" fmla="*/ 98408456 h 451"/>
              <a:gd name="T58" fmla="*/ 18067803 w 438"/>
              <a:gd name="T59" fmla="*/ 104819879 h 451"/>
              <a:gd name="T60" fmla="*/ 15461918 w 438"/>
              <a:gd name="T61" fmla="*/ 118480123 h 451"/>
              <a:gd name="T62" fmla="*/ 18936431 w 438"/>
              <a:gd name="T63" fmla="*/ 124613294 h 451"/>
              <a:gd name="T64" fmla="*/ 26406885 w 438"/>
              <a:gd name="T65" fmla="*/ 124613294 h 451"/>
              <a:gd name="T66" fmla="*/ 35614595 w 438"/>
              <a:gd name="T67" fmla="*/ 123776953 h 451"/>
              <a:gd name="T68" fmla="*/ 47949201 w 438"/>
              <a:gd name="T69" fmla="*/ 124334514 h 451"/>
              <a:gd name="T70" fmla="*/ 59588987 w 438"/>
              <a:gd name="T71" fmla="*/ 123219392 h 451"/>
              <a:gd name="T72" fmla="*/ 64627365 w 438"/>
              <a:gd name="T73" fmla="*/ 120431587 h 451"/>
              <a:gd name="T74" fmla="*/ 62368681 w 438"/>
              <a:gd name="T75" fmla="*/ 115134757 h 451"/>
              <a:gd name="T76" fmla="*/ 64105938 w 438"/>
              <a:gd name="T77" fmla="*/ 112346953 h 451"/>
              <a:gd name="T78" fmla="*/ 64627365 w 438"/>
              <a:gd name="T79" fmla="*/ 106492562 h 451"/>
              <a:gd name="T80" fmla="*/ 66017003 w 438"/>
              <a:gd name="T81" fmla="*/ 102311383 h 451"/>
              <a:gd name="T82" fmla="*/ 59588987 w 438"/>
              <a:gd name="T83" fmla="*/ 95899432 h 451"/>
              <a:gd name="T84" fmla="*/ 56462092 w 438"/>
              <a:gd name="T85" fmla="*/ 90045042 h 451"/>
              <a:gd name="T86" fmla="*/ 54029599 w 438"/>
              <a:gd name="T87" fmla="*/ 81960407 h 451"/>
              <a:gd name="T88" fmla="*/ 51076513 w 438"/>
              <a:gd name="T89" fmla="*/ 77221139 h 451"/>
              <a:gd name="T90" fmla="*/ 54551026 w 438"/>
              <a:gd name="T91" fmla="*/ 76663578 h 451"/>
              <a:gd name="T92" fmla="*/ 60110414 w 438"/>
              <a:gd name="T93" fmla="*/ 75548456 h 451"/>
              <a:gd name="T94" fmla="*/ 64105938 w 438"/>
              <a:gd name="T95" fmla="*/ 72481871 h 451"/>
              <a:gd name="T96" fmla="*/ 70707763 w 438"/>
              <a:gd name="T97" fmla="*/ 66906261 h 451"/>
              <a:gd name="T98" fmla="*/ 76093342 w 438"/>
              <a:gd name="T99" fmla="*/ 65512359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63" name="Freeform 17">
            <a:extLst>
              <a:ext uri="{FF2B5EF4-FFF2-40B4-BE49-F238E27FC236}">
                <a16:creationId xmlns:a16="http://schemas.microsoft.com/office/drawing/2014/main" id="{575574FD-AF44-4684-A543-7597082E46A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317472" y="5415374"/>
            <a:ext cx="842760" cy="995025"/>
          </a:xfrm>
          <a:custGeom>
            <a:avLst/>
            <a:gdLst>
              <a:gd name="T0" fmla="*/ 61579273 w 578"/>
              <a:gd name="T1" fmla="*/ 24173297 h 524"/>
              <a:gd name="T2" fmla="*/ 58754237 w 578"/>
              <a:gd name="T3" fmla="*/ 23349386 h 524"/>
              <a:gd name="T4" fmla="*/ 56682978 w 578"/>
              <a:gd name="T5" fmla="*/ 21701040 h 524"/>
              <a:gd name="T6" fmla="*/ 51786683 w 578"/>
              <a:gd name="T7" fmla="*/ 18130235 h 524"/>
              <a:gd name="T8" fmla="*/ 47267060 w 578"/>
              <a:gd name="T9" fmla="*/ 21426403 h 524"/>
              <a:gd name="T10" fmla="*/ 46325815 w 578"/>
              <a:gd name="T11" fmla="*/ 28843174 h 524"/>
              <a:gd name="T12" fmla="*/ 47643731 w 578"/>
              <a:gd name="T13" fmla="*/ 42028895 h 524"/>
              <a:gd name="T14" fmla="*/ 50845005 w 578"/>
              <a:gd name="T15" fmla="*/ 47248046 h 524"/>
              <a:gd name="T16" fmla="*/ 54046712 w 578"/>
              <a:gd name="T17" fmla="*/ 48896392 h 524"/>
              <a:gd name="T18" fmla="*/ 56117971 w 578"/>
              <a:gd name="T19" fmla="*/ 52467198 h 524"/>
              <a:gd name="T20" fmla="*/ 66098897 w 578"/>
              <a:gd name="T21" fmla="*/ 61806952 h 524"/>
              <a:gd name="T22" fmla="*/ 84553628 w 578"/>
              <a:gd name="T23" fmla="*/ 84881701 h 524"/>
              <a:gd name="T24" fmla="*/ 89826595 w 578"/>
              <a:gd name="T25" fmla="*/ 88452506 h 524"/>
              <a:gd name="T26" fmla="*/ 94910791 w 578"/>
              <a:gd name="T27" fmla="*/ 90100852 h 524"/>
              <a:gd name="T28" fmla="*/ 100937101 w 578"/>
              <a:gd name="T29" fmla="*/ 97792261 h 524"/>
              <a:gd name="T30" fmla="*/ 108846333 w 578"/>
              <a:gd name="T31" fmla="*/ 103286573 h 524"/>
              <a:gd name="T32" fmla="*/ 106398403 w 578"/>
              <a:gd name="T33" fmla="*/ 111801892 h 524"/>
              <a:gd name="T34" fmla="*/ 99053743 w 578"/>
              <a:gd name="T35" fmla="*/ 105209556 h 524"/>
              <a:gd name="T36" fmla="*/ 95664134 w 578"/>
              <a:gd name="T37" fmla="*/ 103286573 h 524"/>
              <a:gd name="T38" fmla="*/ 93781211 w 578"/>
              <a:gd name="T39" fmla="*/ 109054998 h 524"/>
              <a:gd name="T40" fmla="*/ 95287463 w 578"/>
              <a:gd name="T41" fmla="*/ 117021568 h 524"/>
              <a:gd name="T42" fmla="*/ 96794149 w 578"/>
              <a:gd name="T43" fmla="*/ 121416284 h 524"/>
              <a:gd name="T44" fmla="*/ 94157882 w 578"/>
              <a:gd name="T45" fmla="*/ 128558418 h 524"/>
              <a:gd name="T46" fmla="*/ 90956175 w 578"/>
              <a:gd name="T47" fmla="*/ 138722608 h 524"/>
              <a:gd name="T48" fmla="*/ 87566566 w 578"/>
              <a:gd name="T49" fmla="*/ 143392485 h 524"/>
              <a:gd name="T50" fmla="*/ 82105698 w 578"/>
              <a:gd name="T51" fmla="*/ 138722608 h 524"/>
              <a:gd name="T52" fmla="*/ 85871978 w 578"/>
              <a:gd name="T53" fmla="*/ 132953659 h 524"/>
              <a:gd name="T54" fmla="*/ 87566566 w 578"/>
              <a:gd name="T55" fmla="*/ 128283781 h 524"/>
              <a:gd name="T56" fmla="*/ 86813223 w 578"/>
              <a:gd name="T57" fmla="*/ 121141647 h 524"/>
              <a:gd name="T58" fmla="*/ 80410676 w 578"/>
              <a:gd name="T59" fmla="*/ 108505724 h 524"/>
              <a:gd name="T60" fmla="*/ 72501444 w 578"/>
              <a:gd name="T61" fmla="*/ 101363590 h 524"/>
              <a:gd name="T62" fmla="*/ 66851806 w 578"/>
              <a:gd name="T63" fmla="*/ 97792261 h 524"/>
              <a:gd name="T64" fmla="*/ 59884252 w 578"/>
              <a:gd name="T65" fmla="*/ 90650126 h 524"/>
              <a:gd name="T66" fmla="*/ 50468333 w 578"/>
              <a:gd name="T67" fmla="*/ 86530047 h 524"/>
              <a:gd name="T68" fmla="*/ 41052849 w 578"/>
              <a:gd name="T69" fmla="*/ 78288841 h 524"/>
              <a:gd name="T70" fmla="*/ 30506916 w 578"/>
              <a:gd name="T71" fmla="*/ 62906024 h 524"/>
              <a:gd name="T72" fmla="*/ 23727698 w 578"/>
              <a:gd name="T73" fmla="*/ 46149498 h 524"/>
              <a:gd name="T74" fmla="*/ 14500115 w 578"/>
              <a:gd name="T75" fmla="*/ 42303532 h 524"/>
              <a:gd name="T76" fmla="*/ 9604254 w 578"/>
              <a:gd name="T77" fmla="*/ 43127443 h 524"/>
              <a:gd name="T78" fmla="*/ 2824602 w 578"/>
              <a:gd name="T79" fmla="*/ 45325063 h 524"/>
              <a:gd name="T80" fmla="*/ 565007 w 578"/>
              <a:gd name="T81" fmla="*/ 36534583 h 524"/>
              <a:gd name="T82" fmla="*/ 188336 w 578"/>
              <a:gd name="T83" fmla="*/ 25547006 h 524"/>
              <a:gd name="T84" fmla="*/ 1130014 w 578"/>
              <a:gd name="T85" fmla="*/ 13460358 h 524"/>
              <a:gd name="T86" fmla="*/ 8474240 w 578"/>
              <a:gd name="T87" fmla="*/ 11262738 h 524"/>
              <a:gd name="T88" fmla="*/ 12805528 w 578"/>
              <a:gd name="T89" fmla="*/ 9065117 h 524"/>
              <a:gd name="T90" fmla="*/ 15630129 w 578"/>
              <a:gd name="T91" fmla="*/ 13185721 h 524"/>
              <a:gd name="T92" fmla="*/ 19584746 w 578"/>
              <a:gd name="T93" fmla="*/ 12086649 h 524"/>
              <a:gd name="T94" fmla="*/ 28058986 w 578"/>
              <a:gd name="T95" fmla="*/ 4395240 h 524"/>
              <a:gd name="T96" fmla="*/ 45007465 w 578"/>
              <a:gd name="T97" fmla="*/ 0 h 524"/>
              <a:gd name="T98" fmla="*/ 48397074 w 578"/>
              <a:gd name="T99" fmla="*/ 3571329 h 524"/>
              <a:gd name="T100" fmla="*/ 62520518 w 578"/>
              <a:gd name="T101" fmla="*/ 5219151 h 524"/>
              <a:gd name="T102" fmla="*/ 60637595 w 578"/>
              <a:gd name="T103" fmla="*/ 17855598 h 524"/>
              <a:gd name="T104" fmla="*/ 61202602 w 578"/>
              <a:gd name="T105" fmla="*/ 24722571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64" name="Freeform 18">
            <a:extLst>
              <a:ext uri="{FF2B5EF4-FFF2-40B4-BE49-F238E27FC236}">
                <a16:creationId xmlns:a16="http://schemas.microsoft.com/office/drawing/2014/main" id="{25646F64-78AC-4861-89B3-557D539541A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376141" y="6025037"/>
            <a:ext cx="112014" cy="299084"/>
          </a:xfrm>
          <a:custGeom>
            <a:avLst/>
            <a:gdLst>
              <a:gd name="T0" fmla="*/ 0 w 79"/>
              <a:gd name="T1" fmla="*/ 9849247 h 160"/>
              <a:gd name="T2" fmla="*/ 1068504 w 79"/>
              <a:gd name="T3" fmla="*/ 9849247 h 160"/>
              <a:gd name="T4" fmla="*/ 1958924 w 79"/>
              <a:gd name="T5" fmla="*/ 9583023 h 160"/>
              <a:gd name="T6" fmla="*/ 2849344 w 79"/>
              <a:gd name="T7" fmla="*/ 9316799 h 160"/>
              <a:gd name="T8" fmla="*/ 3383596 w 79"/>
              <a:gd name="T9" fmla="*/ 8784352 h 160"/>
              <a:gd name="T10" fmla="*/ 4630184 w 79"/>
              <a:gd name="T11" fmla="*/ 7453233 h 160"/>
              <a:gd name="T12" fmla="*/ 5520604 w 79"/>
              <a:gd name="T13" fmla="*/ 5856407 h 160"/>
              <a:gd name="T14" fmla="*/ 6589108 w 79"/>
              <a:gd name="T15" fmla="*/ 4259064 h 160"/>
              <a:gd name="T16" fmla="*/ 7301444 w 79"/>
              <a:gd name="T17" fmla="*/ 2661722 h 160"/>
              <a:gd name="T18" fmla="*/ 8191864 w 79"/>
              <a:gd name="T19" fmla="*/ 1331119 h 160"/>
              <a:gd name="T20" fmla="*/ 9438452 w 79"/>
              <a:gd name="T21" fmla="*/ 0 h 160"/>
              <a:gd name="T22" fmla="*/ 10150788 w 79"/>
              <a:gd name="T23" fmla="*/ 798671 h 160"/>
              <a:gd name="T24" fmla="*/ 11041208 w 79"/>
              <a:gd name="T25" fmla="*/ 1863566 h 160"/>
              <a:gd name="T26" fmla="*/ 11397376 w 79"/>
              <a:gd name="T27" fmla="*/ 2661722 h 160"/>
              <a:gd name="T28" fmla="*/ 11753544 w 79"/>
              <a:gd name="T29" fmla="*/ 3726617 h 160"/>
              <a:gd name="T30" fmla="*/ 12287796 w 79"/>
              <a:gd name="T31" fmla="*/ 5856407 h 160"/>
              <a:gd name="T32" fmla="*/ 12822048 w 79"/>
              <a:gd name="T33" fmla="*/ 8518128 h 160"/>
              <a:gd name="T34" fmla="*/ 13000132 w 79"/>
              <a:gd name="T35" fmla="*/ 10647918 h 160"/>
              <a:gd name="T36" fmla="*/ 13178216 w 79"/>
              <a:gd name="T37" fmla="*/ 13043416 h 160"/>
              <a:gd name="T38" fmla="*/ 13534384 w 79"/>
              <a:gd name="T39" fmla="*/ 15438914 h 160"/>
              <a:gd name="T40" fmla="*/ 14068636 w 79"/>
              <a:gd name="T41" fmla="*/ 17834928 h 160"/>
              <a:gd name="T42" fmla="*/ 14068636 w 79"/>
              <a:gd name="T43" fmla="*/ 26086832 h 160"/>
              <a:gd name="T44" fmla="*/ 12109712 w 79"/>
              <a:gd name="T45" fmla="*/ 30612120 h 160"/>
              <a:gd name="T46" fmla="*/ 10506956 w 79"/>
              <a:gd name="T47" fmla="*/ 34338736 h 160"/>
              <a:gd name="T48" fmla="*/ 9438452 w 79"/>
              <a:gd name="T49" fmla="*/ 36202303 h 160"/>
              <a:gd name="T50" fmla="*/ 8904200 w 79"/>
              <a:gd name="T51" fmla="*/ 38331577 h 160"/>
              <a:gd name="T52" fmla="*/ 8548032 w 79"/>
              <a:gd name="T53" fmla="*/ 40195143 h 160"/>
              <a:gd name="T54" fmla="*/ 8191864 w 79"/>
              <a:gd name="T55" fmla="*/ 42590641 h 160"/>
              <a:gd name="T56" fmla="*/ 7123360 w 79"/>
              <a:gd name="T57" fmla="*/ 41259522 h 160"/>
              <a:gd name="T58" fmla="*/ 5876772 w 79"/>
              <a:gd name="T59" fmla="*/ 39928919 h 160"/>
              <a:gd name="T60" fmla="*/ 4986352 w 79"/>
              <a:gd name="T61" fmla="*/ 38331577 h 160"/>
              <a:gd name="T62" fmla="*/ 3917848 w 79"/>
              <a:gd name="T63" fmla="*/ 36468010 h 160"/>
              <a:gd name="T64" fmla="*/ 3205512 w 79"/>
              <a:gd name="T65" fmla="*/ 34604960 h 160"/>
              <a:gd name="T66" fmla="*/ 2671260 w 79"/>
              <a:gd name="T67" fmla="*/ 32741394 h 160"/>
              <a:gd name="T68" fmla="*/ 1958924 w 79"/>
              <a:gd name="T69" fmla="*/ 30612120 h 160"/>
              <a:gd name="T70" fmla="*/ 1424672 w 79"/>
              <a:gd name="T71" fmla="*/ 28748553 h 160"/>
              <a:gd name="T72" fmla="*/ 712336 w 79"/>
              <a:gd name="T73" fmla="*/ 24223266 h 160"/>
              <a:gd name="T74" fmla="*/ 178084 w 79"/>
              <a:gd name="T75" fmla="*/ 19431754 h 160"/>
              <a:gd name="T76" fmla="*/ 0 w 79"/>
              <a:gd name="T77" fmla="*/ 14640758 h 160"/>
              <a:gd name="T78" fmla="*/ 0 w 79"/>
              <a:gd name="T79" fmla="*/ 98492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65" name="Freeform 22">
            <a:extLst>
              <a:ext uri="{FF2B5EF4-FFF2-40B4-BE49-F238E27FC236}">
                <a16:creationId xmlns:a16="http://schemas.microsoft.com/office/drawing/2014/main" id="{4B11C75B-E697-4AF7-A63E-7AC5D3A9101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537112" y="2133372"/>
            <a:ext cx="10299819" cy="3893829"/>
          </a:xfrm>
          <a:custGeom>
            <a:avLst/>
            <a:gdLst>
              <a:gd name="T0" fmla="*/ 137111692 w 7049"/>
              <a:gd name="T1" fmla="*/ 477246726 h 2048"/>
              <a:gd name="T2" fmla="*/ 202358326 w 7049"/>
              <a:gd name="T3" fmla="*/ 533425873 h 2048"/>
              <a:gd name="T4" fmla="*/ 229212974 w 7049"/>
              <a:gd name="T5" fmla="*/ 499553291 h 2048"/>
              <a:gd name="T6" fmla="*/ 316586251 w 7049"/>
              <a:gd name="T7" fmla="*/ 404544546 h 2048"/>
              <a:gd name="T8" fmla="*/ 495115383 w 7049"/>
              <a:gd name="T9" fmla="*/ 362134941 h 2048"/>
              <a:gd name="T10" fmla="*/ 633551282 w 7049"/>
              <a:gd name="T11" fmla="*/ 411429055 h 2048"/>
              <a:gd name="T12" fmla="*/ 695204076 w 7049"/>
              <a:gd name="T13" fmla="*/ 396007524 h 2048"/>
              <a:gd name="T14" fmla="*/ 782199444 w 7049"/>
              <a:gd name="T15" fmla="*/ 410878567 h 2048"/>
              <a:gd name="T16" fmla="*/ 865600972 w 7049"/>
              <a:gd name="T17" fmla="*/ 415560075 h 2048"/>
              <a:gd name="T18" fmla="*/ 900020774 w 7049"/>
              <a:gd name="T19" fmla="*/ 377831979 h 2048"/>
              <a:gd name="T20" fmla="*/ 975101327 w 7049"/>
              <a:gd name="T21" fmla="*/ 406472041 h 2048"/>
              <a:gd name="T22" fmla="*/ 1061718350 w 7049"/>
              <a:gd name="T23" fmla="*/ 440069642 h 2048"/>
              <a:gd name="T24" fmla="*/ 1059827061 w 7049"/>
              <a:gd name="T25" fmla="*/ 507814807 h 2048"/>
              <a:gd name="T26" fmla="*/ 1106917932 w 7049"/>
              <a:gd name="T27" fmla="*/ 443925156 h 2048"/>
              <a:gd name="T28" fmla="*/ 1053396940 w 7049"/>
              <a:gd name="T29" fmla="*/ 345886891 h 2048"/>
              <a:gd name="T30" fmla="*/ 1008197358 w 7049"/>
              <a:gd name="T31" fmla="*/ 315869822 h 2048"/>
              <a:gd name="T32" fmla="*/ 1107674187 w 7049"/>
              <a:gd name="T33" fmla="*/ 270430698 h 2048"/>
              <a:gd name="T34" fmla="*/ 1129801265 w 7049"/>
              <a:gd name="T35" fmla="*/ 226368580 h 2048"/>
              <a:gd name="T36" fmla="*/ 1159682235 w 7049"/>
              <a:gd name="T37" fmla="*/ 209570042 h 2048"/>
              <a:gd name="T38" fmla="*/ 1171596615 w 7049"/>
              <a:gd name="T39" fmla="*/ 268227697 h 2048"/>
              <a:gd name="T40" fmla="*/ 1201288413 w 7049"/>
              <a:gd name="T41" fmla="*/ 344509884 h 2048"/>
              <a:gd name="T42" fmla="*/ 1243462107 w 7049"/>
              <a:gd name="T43" fmla="*/ 388296496 h 2048"/>
              <a:gd name="T44" fmla="*/ 1241759991 w 7049"/>
              <a:gd name="T45" fmla="*/ 334320874 h 2048"/>
              <a:gd name="T46" fmla="*/ 1205260163 w 7049"/>
              <a:gd name="T47" fmla="*/ 285577247 h 2048"/>
              <a:gd name="T48" fmla="*/ 1238167021 w 7049"/>
              <a:gd name="T49" fmla="*/ 243718130 h 2048"/>
              <a:gd name="T50" fmla="*/ 1286203319 w 7049"/>
              <a:gd name="T51" fmla="*/ 215904063 h 2048"/>
              <a:gd name="T52" fmla="*/ 1253485633 w 7049"/>
              <a:gd name="T53" fmla="*/ 170189432 h 2048"/>
              <a:gd name="T54" fmla="*/ 1285824974 w 7049"/>
              <a:gd name="T55" fmla="*/ 175146446 h 2048"/>
              <a:gd name="T56" fmla="*/ 1297550617 w 7049"/>
              <a:gd name="T57" fmla="*/ 149535380 h 2048"/>
              <a:gd name="T58" fmla="*/ 1229278094 w 7049"/>
              <a:gd name="T59" fmla="*/ 127229339 h 2048"/>
              <a:gd name="T60" fmla="*/ 1105026644 w 7049"/>
              <a:gd name="T61" fmla="*/ 112908784 h 2048"/>
              <a:gd name="T62" fmla="*/ 1076658617 w 7049"/>
              <a:gd name="T63" fmla="*/ 114285790 h 2048"/>
              <a:gd name="T64" fmla="*/ 943896585 w 7049"/>
              <a:gd name="T65" fmla="*/ 96661258 h 2048"/>
              <a:gd name="T66" fmla="*/ 894158170 w 7049"/>
              <a:gd name="T67" fmla="*/ 79862195 h 2048"/>
              <a:gd name="T68" fmla="*/ 834396230 w 7049"/>
              <a:gd name="T69" fmla="*/ 79862195 h 2048"/>
              <a:gd name="T70" fmla="*/ 758181077 w 7049"/>
              <a:gd name="T71" fmla="*/ 87573223 h 2048"/>
              <a:gd name="T72" fmla="*/ 675914149 w 7049"/>
              <a:gd name="T73" fmla="*/ 71876186 h 2048"/>
              <a:gd name="T74" fmla="*/ 622203985 w 7049"/>
              <a:gd name="T75" fmla="*/ 67194677 h 2048"/>
              <a:gd name="T76" fmla="*/ 568872165 w 7049"/>
              <a:gd name="T77" fmla="*/ 64716170 h 2048"/>
              <a:gd name="T78" fmla="*/ 515162000 w 7049"/>
              <a:gd name="T79" fmla="*/ 15972544 h 2048"/>
              <a:gd name="T80" fmla="*/ 494926211 w 7049"/>
              <a:gd name="T81" fmla="*/ 38554091 h 2048"/>
              <a:gd name="T82" fmla="*/ 403581619 w 7049"/>
              <a:gd name="T83" fmla="*/ 45989613 h 2048"/>
              <a:gd name="T84" fmla="*/ 408309623 w 7049"/>
              <a:gd name="T85" fmla="*/ 55077647 h 2048"/>
              <a:gd name="T86" fmla="*/ 415685171 w 7049"/>
              <a:gd name="T87" fmla="*/ 94182751 h 2048"/>
              <a:gd name="T88" fmla="*/ 365568411 w 7049"/>
              <a:gd name="T89" fmla="*/ 70499179 h 2048"/>
              <a:gd name="T90" fmla="*/ 337957075 w 7049"/>
              <a:gd name="T91" fmla="*/ 75180687 h 2048"/>
              <a:gd name="T92" fmla="*/ 362542523 w 7049"/>
              <a:gd name="T93" fmla="*/ 122822813 h 2048"/>
              <a:gd name="T94" fmla="*/ 392612666 w 7049"/>
              <a:gd name="T95" fmla="*/ 145679866 h 2048"/>
              <a:gd name="T96" fmla="*/ 356112403 w 7049"/>
              <a:gd name="T97" fmla="*/ 163304923 h 2048"/>
              <a:gd name="T98" fmla="*/ 346467222 w 7049"/>
              <a:gd name="T99" fmla="*/ 127779827 h 2048"/>
              <a:gd name="T100" fmla="*/ 306563160 w 7049"/>
              <a:gd name="T101" fmla="*/ 63614670 h 2048"/>
              <a:gd name="T102" fmla="*/ 306941505 w 7049"/>
              <a:gd name="T103" fmla="*/ 124199819 h 2048"/>
              <a:gd name="T104" fmla="*/ 234130151 w 7049"/>
              <a:gd name="T105" fmla="*/ 109328776 h 2048"/>
              <a:gd name="T106" fmla="*/ 226565431 w 7049"/>
              <a:gd name="T107" fmla="*/ 131359835 h 2048"/>
              <a:gd name="T108" fmla="*/ 171720667 w 7049"/>
              <a:gd name="T109" fmla="*/ 137693856 h 2048"/>
              <a:gd name="T110" fmla="*/ 130870744 w 7049"/>
              <a:gd name="T111" fmla="*/ 133012348 h 2048"/>
              <a:gd name="T112" fmla="*/ 113850015 w 7049"/>
              <a:gd name="T113" fmla="*/ 161101922 h 2048"/>
              <a:gd name="T114" fmla="*/ 76971842 w 7049"/>
              <a:gd name="T115" fmla="*/ 203511527 h 2048"/>
              <a:gd name="T116" fmla="*/ 73756781 w 7049"/>
              <a:gd name="T117" fmla="*/ 168537444 h 2048"/>
              <a:gd name="T118" fmla="*/ 28368026 w 7049"/>
              <a:gd name="T119" fmla="*/ 121170824 h 2048"/>
              <a:gd name="T120" fmla="*/ 13427324 w 7049"/>
              <a:gd name="T121" fmla="*/ 166609424 h 2048"/>
              <a:gd name="T122" fmla="*/ 21181216 w 7049"/>
              <a:gd name="T123" fmla="*/ 263821170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bg1">
              <a:lumMod val="6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66" name="Freeform 23">
            <a:extLst>
              <a:ext uri="{FF2B5EF4-FFF2-40B4-BE49-F238E27FC236}">
                <a16:creationId xmlns:a16="http://schemas.microsoft.com/office/drawing/2014/main" id="{8EEF1D97-5580-4238-B4FF-9966E138541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047998" y="5748961"/>
            <a:ext cx="944105" cy="897251"/>
          </a:xfrm>
          <a:custGeom>
            <a:avLst/>
            <a:gdLst>
              <a:gd name="T0" fmla="*/ 76575689 w 647"/>
              <a:gd name="T1" fmla="*/ 7496418 h 470"/>
              <a:gd name="T2" fmla="*/ 80724916 w 647"/>
              <a:gd name="T3" fmla="*/ 12493679 h 470"/>
              <a:gd name="T4" fmla="*/ 86383308 w 647"/>
              <a:gd name="T5" fmla="*/ 16658414 h 470"/>
              <a:gd name="T6" fmla="*/ 96568327 w 647"/>
              <a:gd name="T7" fmla="*/ 21655675 h 470"/>
              <a:gd name="T8" fmla="*/ 101471919 w 647"/>
              <a:gd name="T9" fmla="*/ 22488728 h 470"/>
              <a:gd name="T10" fmla="*/ 105998546 w 647"/>
              <a:gd name="T11" fmla="*/ 27486515 h 470"/>
              <a:gd name="T12" fmla="*/ 106941828 w 647"/>
              <a:gd name="T13" fmla="*/ 26931147 h 470"/>
              <a:gd name="T14" fmla="*/ 108450559 w 647"/>
              <a:gd name="T15" fmla="*/ 23599464 h 470"/>
              <a:gd name="T16" fmla="*/ 109959290 w 647"/>
              <a:gd name="T17" fmla="*/ 21655675 h 470"/>
              <a:gd name="T18" fmla="*/ 113731551 w 647"/>
              <a:gd name="T19" fmla="*/ 22211044 h 470"/>
              <a:gd name="T20" fmla="*/ 117692295 w 647"/>
              <a:gd name="T21" fmla="*/ 21933359 h 470"/>
              <a:gd name="T22" fmla="*/ 120710191 w 647"/>
              <a:gd name="T23" fmla="*/ 23321780 h 470"/>
              <a:gd name="T24" fmla="*/ 121841956 w 647"/>
              <a:gd name="T25" fmla="*/ 28596725 h 470"/>
              <a:gd name="T26" fmla="*/ 121841956 w 647"/>
              <a:gd name="T27" fmla="*/ 34149881 h 470"/>
              <a:gd name="T28" fmla="*/ 116560964 w 647"/>
              <a:gd name="T29" fmla="*/ 36370827 h 470"/>
              <a:gd name="T30" fmla="*/ 110525172 w 647"/>
              <a:gd name="T31" fmla="*/ 40535563 h 470"/>
              <a:gd name="T32" fmla="*/ 105621580 w 647"/>
              <a:gd name="T33" fmla="*/ 45810508 h 470"/>
              <a:gd name="T34" fmla="*/ 95059162 w 647"/>
              <a:gd name="T35" fmla="*/ 59414923 h 470"/>
              <a:gd name="T36" fmla="*/ 92230183 w 647"/>
              <a:gd name="T37" fmla="*/ 63024290 h 470"/>
              <a:gd name="T38" fmla="*/ 89400770 w 647"/>
              <a:gd name="T39" fmla="*/ 70520182 h 470"/>
              <a:gd name="T40" fmla="*/ 89212287 w 647"/>
              <a:gd name="T41" fmla="*/ 78294284 h 470"/>
              <a:gd name="T42" fmla="*/ 89212287 w 647"/>
              <a:gd name="T43" fmla="*/ 86346071 h 470"/>
              <a:gd name="T44" fmla="*/ 87326156 w 647"/>
              <a:gd name="T45" fmla="*/ 94397330 h 470"/>
              <a:gd name="T46" fmla="*/ 84874143 w 647"/>
              <a:gd name="T47" fmla="*/ 98284381 h 470"/>
              <a:gd name="T48" fmla="*/ 77518537 w 647"/>
              <a:gd name="T49" fmla="*/ 106613325 h 470"/>
              <a:gd name="T50" fmla="*/ 72237545 w 647"/>
              <a:gd name="T51" fmla="*/ 114109743 h 470"/>
              <a:gd name="T52" fmla="*/ 70539897 w 647"/>
              <a:gd name="T53" fmla="*/ 117996794 h 470"/>
              <a:gd name="T54" fmla="*/ 69597049 w 647"/>
              <a:gd name="T55" fmla="*/ 119940056 h 470"/>
              <a:gd name="T56" fmla="*/ 58469182 w 647"/>
              <a:gd name="T57" fmla="*/ 119107004 h 470"/>
              <a:gd name="T58" fmla="*/ 48472646 w 647"/>
              <a:gd name="T59" fmla="*/ 120495425 h 470"/>
              <a:gd name="T60" fmla="*/ 42248371 w 647"/>
              <a:gd name="T61" fmla="*/ 123827108 h 470"/>
              <a:gd name="T62" fmla="*/ 36401497 w 647"/>
              <a:gd name="T63" fmla="*/ 129657421 h 470"/>
              <a:gd name="T64" fmla="*/ 33761001 w 647"/>
              <a:gd name="T65" fmla="*/ 130212789 h 470"/>
              <a:gd name="T66" fmla="*/ 31874870 w 647"/>
              <a:gd name="T67" fmla="*/ 127991843 h 470"/>
              <a:gd name="T68" fmla="*/ 28857408 w 647"/>
              <a:gd name="T69" fmla="*/ 119940056 h 470"/>
              <a:gd name="T70" fmla="*/ 26405395 w 647"/>
              <a:gd name="T71" fmla="*/ 114942796 h 470"/>
              <a:gd name="T72" fmla="*/ 23010534 w 647"/>
              <a:gd name="T73" fmla="*/ 111055744 h 470"/>
              <a:gd name="T74" fmla="*/ 21501368 w 647"/>
              <a:gd name="T75" fmla="*/ 105225431 h 470"/>
              <a:gd name="T76" fmla="*/ 23764899 w 647"/>
              <a:gd name="T77" fmla="*/ 93286594 h 470"/>
              <a:gd name="T78" fmla="*/ 23953382 w 647"/>
              <a:gd name="T79" fmla="*/ 74129549 h 470"/>
              <a:gd name="T80" fmla="*/ 27725643 w 647"/>
              <a:gd name="T81" fmla="*/ 57193450 h 470"/>
              <a:gd name="T82" fmla="*/ 31686387 w 647"/>
              <a:gd name="T83" fmla="*/ 41368088 h 470"/>
              <a:gd name="T84" fmla="*/ 32440753 w 647"/>
              <a:gd name="T85" fmla="*/ 36370827 h 470"/>
              <a:gd name="T86" fmla="*/ 21878768 w 647"/>
              <a:gd name="T87" fmla="*/ 34149881 h 470"/>
              <a:gd name="T88" fmla="*/ 11693750 w 647"/>
              <a:gd name="T89" fmla="*/ 30262830 h 470"/>
              <a:gd name="T90" fmla="*/ 3206379 w 647"/>
              <a:gd name="T91" fmla="*/ 25820411 h 470"/>
              <a:gd name="T92" fmla="*/ 0 w 647"/>
              <a:gd name="T93" fmla="*/ 10550417 h 470"/>
              <a:gd name="T94" fmla="*/ 4338144 w 647"/>
              <a:gd name="T95" fmla="*/ 9439680 h 470"/>
              <a:gd name="T96" fmla="*/ 9619136 w 647"/>
              <a:gd name="T97" fmla="*/ 5552629 h 470"/>
              <a:gd name="T98" fmla="*/ 13768363 w 647"/>
              <a:gd name="T99" fmla="*/ 1110737 h 470"/>
              <a:gd name="T100" fmla="*/ 16220376 w 647"/>
              <a:gd name="T101" fmla="*/ 0 h 470"/>
              <a:gd name="T102" fmla="*/ 24896664 w 647"/>
              <a:gd name="T103" fmla="*/ 1943262 h 470"/>
              <a:gd name="T104" fmla="*/ 32252270 w 647"/>
              <a:gd name="T105" fmla="*/ 4720104 h 470"/>
              <a:gd name="T106" fmla="*/ 39419393 w 647"/>
              <a:gd name="T107" fmla="*/ 5552629 h 470"/>
              <a:gd name="T108" fmla="*/ 44323419 w 647"/>
              <a:gd name="T109" fmla="*/ 8051786 h 470"/>
              <a:gd name="T110" fmla="*/ 48661129 w 647"/>
              <a:gd name="T111" fmla="*/ 10272733 h 470"/>
              <a:gd name="T112" fmla="*/ 72614511 w 647"/>
              <a:gd name="T113" fmla="*/ 7218734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67" name="Freeform 30">
            <a:extLst>
              <a:ext uri="{FF2B5EF4-FFF2-40B4-BE49-F238E27FC236}">
                <a16:creationId xmlns:a16="http://schemas.microsoft.com/office/drawing/2014/main" id="{9039345E-0BCB-40A1-A384-2094411DACD9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262344" y="4460028"/>
            <a:ext cx="2938997" cy="1639203"/>
          </a:xfrm>
          <a:custGeom>
            <a:avLst/>
            <a:gdLst>
              <a:gd name="T0" fmla="*/ 82329854 w 2006"/>
              <a:gd name="T1" fmla="*/ 210259479 h 863"/>
              <a:gd name="T2" fmla="*/ 78336959 w 2006"/>
              <a:gd name="T3" fmla="*/ 209984767 h 863"/>
              <a:gd name="T4" fmla="*/ 74153947 w 2006"/>
              <a:gd name="T5" fmla="*/ 218230339 h 863"/>
              <a:gd name="T6" fmla="*/ 71301755 w 2006"/>
              <a:gd name="T7" fmla="*/ 217680390 h 863"/>
              <a:gd name="T8" fmla="*/ 70351169 w 2006"/>
              <a:gd name="T9" fmla="*/ 206411930 h 863"/>
              <a:gd name="T10" fmla="*/ 61604912 w 2006"/>
              <a:gd name="T11" fmla="*/ 198991020 h 863"/>
              <a:gd name="T12" fmla="*/ 59323071 w 2006"/>
              <a:gd name="T13" fmla="*/ 194593521 h 863"/>
              <a:gd name="T14" fmla="*/ 54759825 w 2006"/>
              <a:gd name="T15" fmla="*/ 190195498 h 863"/>
              <a:gd name="T16" fmla="*/ 47724620 w 2006"/>
              <a:gd name="T17" fmla="*/ 176178339 h 863"/>
              <a:gd name="T18" fmla="*/ 44111960 w 2006"/>
              <a:gd name="T19" fmla="*/ 167658053 h 863"/>
              <a:gd name="T20" fmla="*/ 48104855 w 2006"/>
              <a:gd name="T21" fmla="*/ 163260555 h 863"/>
              <a:gd name="T22" fmla="*/ 53048335 w 2006"/>
              <a:gd name="T23" fmla="*/ 157488444 h 863"/>
              <a:gd name="T24" fmla="*/ 64266551 w 2006"/>
              <a:gd name="T25" fmla="*/ 149518108 h 863"/>
              <a:gd name="T26" fmla="*/ 60653890 w 2006"/>
              <a:gd name="T27" fmla="*/ 133851625 h 863"/>
              <a:gd name="T28" fmla="*/ 49055440 w 2006"/>
              <a:gd name="T29" fmla="*/ 130553501 h 863"/>
              <a:gd name="T30" fmla="*/ 39738831 w 2006"/>
              <a:gd name="T31" fmla="*/ 129179414 h 863"/>
              <a:gd name="T32" fmla="*/ 29851870 w 2006"/>
              <a:gd name="T33" fmla="*/ 136050375 h 863"/>
              <a:gd name="T34" fmla="*/ 20154591 w 2006"/>
              <a:gd name="T35" fmla="*/ 138799074 h 863"/>
              <a:gd name="T36" fmla="*/ 5133597 w 2006"/>
              <a:gd name="T37" fmla="*/ 113512931 h 863"/>
              <a:gd name="T38" fmla="*/ 3802778 w 2006"/>
              <a:gd name="T39" fmla="*/ 77782466 h 863"/>
              <a:gd name="T40" fmla="*/ 21485411 w 2006"/>
              <a:gd name="T41" fmla="*/ 71186217 h 863"/>
              <a:gd name="T42" fmla="*/ 55520293 w 2006"/>
              <a:gd name="T43" fmla="*/ 61016608 h 863"/>
              <a:gd name="T44" fmla="*/ 94688772 w 2006"/>
              <a:gd name="T45" fmla="*/ 69536893 h 863"/>
              <a:gd name="T46" fmla="*/ 136329210 w 2006"/>
              <a:gd name="T47" fmla="*/ 69536893 h 863"/>
              <a:gd name="T48" fmla="*/ 125110994 w 2006"/>
              <a:gd name="T49" fmla="*/ 50846999 h 863"/>
              <a:gd name="T50" fmla="*/ 157814621 w 2006"/>
              <a:gd name="T51" fmla="*/ 18689895 h 863"/>
              <a:gd name="T52" fmla="*/ 199645175 w 2006"/>
              <a:gd name="T53" fmla="*/ 3572837 h 863"/>
              <a:gd name="T54" fmla="*/ 223602544 w 2006"/>
              <a:gd name="T55" fmla="*/ 16765858 h 863"/>
              <a:gd name="T56" fmla="*/ 246419210 w 2006"/>
              <a:gd name="T57" fmla="*/ 30508304 h 863"/>
              <a:gd name="T58" fmla="*/ 274179357 w 2006"/>
              <a:gd name="T59" fmla="*/ 27210180 h 863"/>
              <a:gd name="T60" fmla="*/ 313157719 w 2006"/>
              <a:gd name="T61" fmla="*/ 74484342 h 863"/>
              <a:gd name="T62" fmla="*/ 340917866 w 2006"/>
              <a:gd name="T63" fmla="*/ 72835017 h 863"/>
              <a:gd name="T64" fmla="*/ 380276462 w 2006"/>
              <a:gd name="T65" fmla="*/ 93173712 h 863"/>
              <a:gd name="T66" fmla="*/ 380656696 w 2006"/>
              <a:gd name="T67" fmla="*/ 104717409 h 863"/>
              <a:gd name="T68" fmla="*/ 376663802 w 2006"/>
              <a:gd name="T69" fmla="*/ 109664857 h 863"/>
              <a:gd name="T70" fmla="*/ 372670907 w 2006"/>
              <a:gd name="T71" fmla="*/ 111038944 h 863"/>
              <a:gd name="T72" fmla="*/ 373241258 w 2006"/>
              <a:gd name="T73" fmla="*/ 116811055 h 863"/>
              <a:gd name="T74" fmla="*/ 377424270 w 2006"/>
              <a:gd name="T75" fmla="*/ 128079515 h 863"/>
              <a:gd name="T76" fmla="*/ 376283567 w 2006"/>
              <a:gd name="T77" fmla="*/ 131378163 h 863"/>
              <a:gd name="T78" fmla="*/ 368678012 w 2006"/>
              <a:gd name="T79" fmla="*/ 132202301 h 863"/>
              <a:gd name="T80" fmla="*/ 359931754 w 2006"/>
              <a:gd name="T81" fmla="*/ 130278789 h 863"/>
              <a:gd name="T82" fmla="*/ 354417487 w 2006"/>
              <a:gd name="T83" fmla="*/ 130278789 h 863"/>
              <a:gd name="T84" fmla="*/ 357079562 w 2006"/>
              <a:gd name="T85" fmla="*/ 150617483 h 863"/>
              <a:gd name="T86" fmla="*/ 357459796 w 2006"/>
              <a:gd name="T87" fmla="*/ 161061805 h 863"/>
              <a:gd name="T88" fmla="*/ 340157397 w 2006"/>
              <a:gd name="T89" fmla="*/ 161611230 h 863"/>
              <a:gd name="T90" fmla="*/ 336164066 w 2006"/>
              <a:gd name="T91" fmla="*/ 166008729 h 863"/>
              <a:gd name="T92" fmla="*/ 341298100 w 2006"/>
              <a:gd name="T93" fmla="*/ 170131516 h 863"/>
              <a:gd name="T94" fmla="*/ 344910760 w 2006"/>
              <a:gd name="T95" fmla="*/ 178651801 h 863"/>
              <a:gd name="T96" fmla="*/ 348713538 w 2006"/>
              <a:gd name="T97" fmla="*/ 189371360 h 863"/>
              <a:gd name="T98" fmla="*/ 349283889 w 2006"/>
              <a:gd name="T99" fmla="*/ 194043571 h 863"/>
              <a:gd name="T100" fmla="*/ 349283889 w 2006"/>
              <a:gd name="T101" fmla="*/ 207236592 h 863"/>
              <a:gd name="T102" fmla="*/ 331030469 w 2006"/>
              <a:gd name="T103" fmla="*/ 203388518 h 863"/>
              <a:gd name="T104" fmla="*/ 280453656 w 2006"/>
              <a:gd name="T105" fmla="*/ 209984767 h 863"/>
              <a:gd name="T106" fmla="*/ 250221988 w 2006"/>
              <a:gd name="T107" fmla="*/ 218505052 h 863"/>
              <a:gd name="T108" fmla="*/ 217137691 w 2006"/>
              <a:gd name="T109" fmla="*/ 230323461 h 863"/>
              <a:gd name="T110" fmla="*/ 183103245 w 2006"/>
              <a:gd name="T111" fmla="*/ 191570109 h 863"/>
              <a:gd name="T112" fmla="*/ 130054474 w 2006"/>
              <a:gd name="T113" fmla="*/ 161061805 h 863"/>
              <a:gd name="T114" fmla="*/ 111040586 w 2006"/>
              <a:gd name="T115" fmla="*/ 228674661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bg1">
              <a:lumMod val="65000"/>
            </a:schemeClr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68" name="Freeform 31">
            <a:extLst>
              <a:ext uri="{FF2B5EF4-FFF2-40B4-BE49-F238E27FC236}">
                <a16:creationId xmlns:a16="http://schemas.microsoft.com/office/drawing/2014/main" id="{76EDCD36-B941-4BA0-917F-CDAD68B968DF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050282" y="5582556"/>
            <a:ext cx="1376156" cy="903002"/>
          </a:xfrm>
          <a:custGeom>
            <a:avLst/>
            <a:gdLst>
              <a:gd name="T0" fmla="*/ 118587914 w 950"/>
              <a:gd name="T1" fmla="*/ 125643645 h 468"/>
              <a:gd name="T2" fmla="*/ 103717755 w 950"/>
              <a:gd name="T3" fmla="*/ 118553144 h 468"/>
              <a:gd name="T4" fmla="*/ 87546872 w 950"/>
              <a:gd name="T5" fmla="*/ 106640845 h 468"/>
              <a:gd name="T6" fmla="*/ 72862961 w 950"/>
              <a:gd name="T7" fmla="*/ 87071402 h 468"/>
              <a:gd name="T8" fmla="*/ 56691647 w 950"/>
              <a:gd name="T9" fmla="*/ 73173721 h 468"/>
              <a:gd name="T10" fmla="*/ 47026108 w 950"/>
              <a:gd name="T11" fmla="*/ 59276572 h 468"/>
              <a:gd name="T12" fmla="*/ 34572441 w 950"/>
              <a:gd name="T13" fmla="*/ 48782480 h 468"/>
              <a:gd name="T14" fmla="*/ 24721516 w 950"/>
              <a:gd name="T15" fmla="*/ 53887599 h 468"/>
              <a:gd name="T16" fmla="*/ 18401558 w 950"/>
              <a:gd name="T17" fmla="*/ 68068602 h 468"/>
              <a:gd name="T18" fmla="*/ 7434864 w 950"/>
              <a:gd name="T19" fmla="*/ 69770663 h 468"/>
              <a:gd name="T20" fmla="*/ 0 w 950"/>
              <a:gd name="T21" fmla="*/ 6806647 h 468"/>
              <a:gd name="T22" fmla="*/ 14683910 w 950"/>
              <a:gd name="T23" fmla="*/ 1701529 h 468"/>
              <a:gd name="T24" fmla="*/ 24721516 w 950"/>
              <a:gd name="T25" fmla="*/ 15599210 h 468"/>
              <a:gd name="T26" fmla="*/ 29182434 w 950"/>
              <a:gd name="T27" fmla="*/ 4254088 h 468"/>
              <a:gd name="T28" fmla="*/ 61710450 w 950"/>
              <a:gd name="T29" fmla="*/ 33183803 h 468"/>
              <a:gd name="T30" fmla="*/ 81413163 w 950"/>
              <a:gd name="T31" fmla="*/ 33183803 h 468"/>
              <a:gd name="T32" fmla="*/ 97584046 w 950"/>
              <a:gd name="T33" fmla="*/ 38288921 h 468"/>
              <a:gd name="T34" fmla="*/ 110967233 w 950"/>
              <a:gd name="T35" fmla="*/ 64665545 h 468"/>
              <a:gd name="T36" fmla="*/ 124721623 w 950"/>
              <a:gd name="T37" fmla="*/ 71472192 h 468"/>
              <a:gd name="T38" fmla="*/ 135688317 w 950"/>
              <a:gd name="T39" fmla="*/ 73173721 h 468"/>
              <a:gd name="T40" fmla="*/ 147026647 w 950"/>
              <a:gd name="T41" fmla="*/ 60978100 h 468"/>
              <a:gd name="T42" fmla="*/ 156692186 w 950"/>
              <a:gd name="T43" fmla="*/ 55589660 h 468"/>
              <a:gd name="T44" fmla="*/ 153160356 w 950"/>
              <a:gd name="T45" fmla="*/ 71472192 h 468"/>
              <a:gd name="T46" fmla="*/ 161710557 w 950"/>
              <a:gd name="T47" fmla="*/ 68068602 h 468"/>
              <a:gd name="T48" fmla="*/ 176580716 w 950"/>
              <a:gd name="T49" fmla="*/ 80264222 h 468"/>
              <a:gd name="T50" fmla="*/ 164127050 w 950"/>
              <a:gd name="T51" fmla="*/ 90758314 h 468"/>
              <a:gd name="T52" fmla="*/ 153160356 w 950"/>
              <a:gd name="T53" fmla="*/ 80264222 h 468"/>
              <a:gd name="T54" fmla="*/ 142008275 w 950"/>
              <a:gd name="T55" fmla="*/ 78562693 h 468"/>
              <a:gd name="T56" fmla="*/ 136989472 w 950"/>
              <a:gd name="T57" fmla="*/ 90758314 h 468"/>
              <a:gd name="T58" fmla="*/ 127138116 w 950"/>
              <a:gd name="T59" fmla="*/ 101252405 h 468"/>
              <a:gd name="T60" fmla="*/ 131970670 w 950"/>
              <a:gd name="T61" fmla="*/ 110044435 h 468"/>
              <a:gd name="T62" fmla="*/ 138104810 w 950"/>
              <a:gd name="T63" fmla="*/ 123942116 h 468"/>
              <a:gd name="T64" fmla="*/ 133271825 w 950"/>
              <a:gd name="T65" fmla="*/ 132734147 h 468"/>
              <a:gd name="T66" fmla="*/ 130669946 w 950"/>
              <a:gd name="T67" fmla="*/ 131883116 h 468"/>
              <a:gd name="T68" fmla="*/ 127138116 w 950"/>
              <a:gd name="T69" fmla="*/ 130748764 h 468"/>
              <a:gd name="T70" fmla="*/ 122305562 w 950"/>
              <a:gd name="T71" fmla="*/ 130748764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bg1">
              <a:lumMod val="65000"/>
            </a:schemeClr>
          </a:solidFill>
          <a:ln w="9525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69" name="Freeform 34">
            <a:extLst>
              <a:ext uri="{FF2B5EF4-FFF2-40B4-BE49-F238E27FC236}">
                <a16:creationId xmlns:a16="http://schemas.microsoft.com/office/drawing/2014/main" id="{34FCEBD7-4F52-4BD7-B1A3-13BCC4F89760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026884" y="5122035"/>
            <a:ext cx="421382" cy="207057"/>
          </a:xfrm>
          <a:custGeom>
            <a:avLst/>
            <a:gdLst>
              <a:gd name="T0" fmla="*/ 23243066 w 292"/>
              <a:gd name="T1" fmla="*/ 0 h 99"/>
              <a:gd name="T2" fmla="*/ 28223508 w 292"/>
              <a:gd name="T3" fmla="*/ 0 h 99"/>
              <a:gd name="T4" fmla="*/ 36524389 w 292"/>
              <a:gd name="T5" fmla="*/ 333086 h 99"/>
              <a:gd name="T6" fmla="*/ 46116765 w 292"/>
              <a:gd name="T7" fmla="*/ 1999673 h 99"/>
              <a:gd name="T8" fmla="*/ 53864454 w 292"/>
              <a:gd name="T9" fmla="*/ 2332759 h 99"/>
              <a:gd name="T10" fmla="*/ 53495516 w 292"/>
              <a:gd name="T11" fmla="*/ 6664614 h 99"/>
              <a:gd name="T12" fmla="*/ 52573387 w 292"/>
              <a:gd name="T13" fmla="*/ 10997045 h 99"/>
              <a:gd name="T14" fmla="*/ 51466575 w 292"/>
              <a:gd name="T15" fmla="*/ 18328409 h 99"/>
              <a:gd name="T16" fmla="*/ 24903070 w 292"/>
              <a:gd name="T17" fmla="*/ 23327014 h 99"/>
              <a:gd name="T18" fmla="*/ 18262194 w 292"/>
              <a:gd name="T19" fmla="*/ 29658541 h 99"/>
              <a:gd name="T20" fmla="*/ 14572819 w 292"/>
              <a:gd name="T21" fmla="*/ 31991300 h 99"/>
              <a:gd name="T22" fmla="*/ 12174939 w 292"/>
              <a:gd name="T23" fmla="*/ 32658050 h 99"/>
              <a:gd name="T24" fmla="*/ 10145568 w 292"/>
              <a:gd name="T25" fmla="*/ 32658050 h 99"/>
              <a:gd name="T26" fmla="*/ 8300880 w 292"/>
              <a:gd name="T27" fmla="*/ 31325127 h 99"/>
              <a:gd name="T28" fmla="*/ 6087255 w 292"/>
              <a:gd name="T29" fmla="*/ 28658705 h 99"/>
              <a:gd name="T30" fmla="*/ 3689376 w 292"/>
              <a:gd name="T31" fmla="*/ 25659773 h 99"/>
              <a:gd name="T32" fmla="*/ 1291067 w 292"/>
              <a:gd name="T33" fmla="*/ 22993927 h 99"/>
              <a:gd name="T34" fmla="*/ 184254 w 292"/>
              <a:gd name="T35" fmla="*/ 18995159 h 99"/>
              <a:gd name="T36" fmla="*/ 0 w 292"/>
              <a:gd name="T37" fmla="*/ 13995977 h 99"/>
              <a:gd name="T38" fmla="*/ 184254 w 292"/>
              <a:gd name="T39" fmla="*/ 8331200 h 99"/>
              <a:gd name="T40" fmla="*/ 553192 w 292"/>
              <a:gd name="T41" fmla="*/ 6664614 h 99"/>
              <a:gd name="T42" fmla="*/ 1660004 w 292"/>
              <a:gd name="T43" fmla="*/ 5998441 h 99"/>
              <a:gd name="T44" fmla="*/ 2766817 w 292"/>
              <a:gd name="T45" fmla="*/ 6998277 h 99"/>
              <a:gd name="T46" fmla="*/ 4611505 w 292"/>
              <a:gd name="T47" fmla="*/ 9331036 h 99"/>
              <a:gd name="T48" fmla="*/ 6456193 w 292"/>
              <a:gd name="T49" fmla="*/ 10663959 h 99"/>
              <a:gd name="T50" fmla="*/ 8300880 w 292"/>
              <a:gd name="T51" fmla="*/ 11330132 h 99"/>
              <a:gd name="T52" fmla="*/ 9961314 w 292"/>
              <a:gd name="T53" fmla="*/ 10997045 h 99"/>
              <a:gd name="T54" fmla="*/ 12359193 w 292"/>
              <a:gd name="T55" fmla="*/ 9664123 h 99"/>
              <a:gd name="T56" fmla="*/ 14941756 w 292"/>
              <a:gd name="T57" fmla="*/ 6331527 h 99"/>
              <a:gd name="T58" fmla="*/ 16233253 w 292"/>
              <a:gd name="T59" fmla="*/ 3665682 h 99"/>
              <a:gd name="T60" fmla="*/ 17340065 w 292"/>
              <a:gd name="T61" fmla="*/ 1999673 h 99"/>
              <a:gd name="T62" fmla="*/ 20106882 w 292"/>
              <a:gd name="T63" fmla="*/ 333086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70" name="Freeform 35">
            <a:extLst>
              <a:ext uri="{FF2B5EF4-FFF2-40B4-BE49-F238E27FC236}">
                <a16:creationId xmlns:a16="http://schemas.microsoft.com/office/drawing/2014/main" id="{2AEA08B3-BBDD-44B3-901F-C8C6E0F3A501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941237" y="7695159"/>
            <a:ext cx="64008" cy="207057"/>
          </a:xfrm>
          <a:custGeom>
            <a:avLst/>
            <a:gdLst>
              <a:gd name="T0" fmla="*/ 7654556 w 43"/>
              <a:gd name="T1" fmla="*/ 35119597 h 93"/>
              <a:gd name="T2" fmla="*/ 6084481 w 43"/>
              <a:gd name="T3" fmla="*/ 34364356 h 93"/>
              <a:gd name="T4" fmla="*/ 5103185 w 43"/>
              <a:gd name="T5" fmla="*/ 33609116 h 93"/>
              <a:gd name="T6" fmla="*/ 4121445 w 43"/>
              <a:gd name="T7" fmla="*/ 32853876 h 93"/>
              <a:gd name="T8" fmla="*/ 3532667 w 43"/>
              <a:gd name="T9" fmla="*/ 31720708 h 93"/>
              <a:gd name="T10" fmla="*/ 2943890 w 43"/>
              <a:gd name="T11" fmla="*/ 29832915 h 93"/>
              <a:gd name="T12" fmla="*/ 2747630 w 43"/>
              <a:gd name="T13" fmla="*/ 27567194 h 93"/>
              <a:gd name="T14" fmla="*/ 2551371 w 43"/>
              <a:gd name="T15" fmla="*/ 24546232 h 93"/>
              <a:gd name="T16" fmla="*/ 2158852 w 43"/>
              <a:gd name="T17" fmla="*/ 20769416 h 93"/>
              <a:gd name="T18" fmla="*/ 2158852 w 43"/>
              <a:gd name="T19" fmla="*/ 18126382 h 93"/>
              <a:gd name="T20" fmla="*/ 1766334 w 43"/>
              <a:gd name="T21" fmla="*/ 15860661 h 93"/>
              <a:gd name="T22" fmla="*/ 1177556 w 43"/>
              <a:gd name="T23" fmla="*/ 14350181 h 93"/>
              <a:gd name="T24" fmla="*/ 785037 w 43"/>
              <a:gd name="T25" fmla="*/ 13594940 h 93"/>
              <a:gd name="T26" fmla="*/ 392519 w 43"/>
              <a:gd name="T27" fmla="*/ 12839700 h 93"/>
              <a:gd name="T28" fmla="*/ 0 w 43"/>
              <a:gd name="T29" fmla="*/ 12084460 h 93"/>
              <a:gd name="T30" fmla="*/ 392519 w 43"/>
              <a:gd name="T31" fmla="*/ 10951292 h 93"/>
              <a:gd name="T32" fmla="*/ 981297 w 43"/>
              <a:gd name="T33" fmla="*/ 9062884 h 93"/>
              <a:gd name="T34" fmla="*/ 1177556 w 43"/>
              <a:gd name="T35" fmla="*/ 10573365 h 93"/>
              <a:gd name="T36" fmla="*/ 1373815 w 43"/>
              <a:gd name="T37" fmla="*/ 10951292 h 93"/>
              <a:gd name="T38" fmla="*/ 1570074 w 43"/>
              <a:gd name="T39" fmla="*/ 11328605 h 93"/>
              <a:gd name="T40" fmla="*/ 1766334 w 43"/>
              <a:gd name="T41" fmla="*/ 10951292 h 93"/>
              <a:gd name="T42" fmla="*/ 2158852 w 43"/>
              <a:gd name="T43" fmla="*/ 9440811 h 93"/>
              <a:gd name="T44" fmla="*/ 2747630 w 43"/>
              <a:gd name="T45" fmla="*/ 7175090 h 93"/>
              <a:gd name="T46" fmla="*/ 3140149 w 43"/>
              <a:gd name="T47" fmla="*/ 4531442 h 93"/>
              <a:gd name="T48" fmla="*/ 3925186 w 43"/>
              <a:gd name="T49" fmla="*/ 2265721 h 93"/>
              <a:gd name="T50" fmla="*/ 4318148 w 43"/>
              <a:gd name="T51" fmla="*/ 1510481 h 93"/>
              <a:gd name="T52" fmla="*/ 4906926 w 43"/>
              <a:gd name="T53" fmla="*/ 755240 h 93"/>
              <a:gd name="T54" fmla="*/ 5495703 w 43"/>
              <a:gd name="T55" fmla="*/ 0 h 93"/>
              <a:gd name="T56" fmla="*/ 6280741 w 43"/>
              <a:gd name="T57" fmla="*/ 0 h 93"/>
              <a:gd name="T58" fmla="*/ 6477000 w 43"/>
              <a:gd name="T59" fmla="*/ 3776202 h 93"/>
              <a:gd name="T60" fmla="*/ 6477000 w 43"/>
              <a:gd name="T61" fmla="*/ 6041923 h 93"/>
              <a:gd name="T62" fmla="*/ 6477000 w 43"/>
              <a:gd name="T63" fmla="*/ 7552403 h 93"/>
              <a:gd name="T64" fmla="*/ 6280741 w 43"/>
              <a:gd name="T65" fmla="*/ 8685571 h 93"/>
              <a:gd name="T66" fmla="*/ 6280741 w 43"/>
              <a:gd name="T67" fmla="*/ 10196052 h 93"/>
              <a:gd name="T68" fmla="*/ 6280741 w 43"/>
              <a:gd name="T69" fmla="*/ 11706532 h 93"/>
              <a:gd name="T70" fmla="*/ 6869519 w 43"/>
              <a:gd name="T71" fmla="*/ 13594940 h 93"/>
              <a:gd name="T72" fmla="*/ 7654556 w 43"/>
              <a:gd name="T73" fmla="*/ 16237974 h 93"/>
              <a:gd name="T74" fmla="*/ 7458297 w 43"/>
              <a:gd name="T75" fmla="*/ 16615902 h 93"/>
              <a:gd name="T76" fmla="*/ 7262037 w 43"/>
              <a:gd name="T77" fmla="*/ 16993215 h 93"/>
              <a:gd name="T78" fmla="*/ 7262037 w 43"/>
              <a:gd name="T79" fmla="*/ 18126382 h 93"/>
              <a:gd name="T80" fmla="*/ 7458297 w 43"/>
              <a:gd name="T81" fmla="*/ 19258935 h 93"/>
              <a:gd name="T82" fmla="*/ 7654556 w 43"/>
              <a:gd name="T83" fmla="*/ 22279897 h 93"/>
              <a:gd name="T84" fmla="*/ 8047074 w 43"/>
              <a:gd name="T85" fmla="*/ 25678785 h 93"/>
              <a:gd name="T86" fmla="*/ 8243334 w 43"/>
              <a:gd name="T87" fmla="*/ 28699747 h 93"/>
              <a:gd name="T88" fmla="*/ 8439593 w 43"/>
              <a:gd name="T89" fmla="*/ 32098635 h 93"/>
              <a:gd name="T90" fmla="*/ 8439593 w 43"/>
              <a:gd name="T91" fmla="*/ 33231189 h 93"/>
              <a:gd name="T92" fmla="*/ 8243334 w 43"/>
              <a:gd name="T93" fmla="*/ 34364356 h 93"/>
              <a:gd name="T94" fmla="*/ 7850815 w 43"/>
              <a:gd name="T95" fmla="*/ 34741669 h 93"/>
              <a:gd name="T96" fmla="*/ 7654556 w 43"/>
              <a:gd name="T97" fmla="*/ 3511959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1" name="Freeform 36">
            <a:extLst>
              <a:ext uri="{FF2B5EF4-FFF2-40B4-BE49-F238E27FC236}">
                <a16:creationId xmlns:a16="http://schemas.microsoft.com/office/drawing/2014/main" id="{8C976FF6-3EF8-4C38-9378-ED0D68D285D4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6341288" y="7712418"/>
            <a:ext cx="48005" cy="207057"/>
          </a:xfrm>
          <a:custGeom>
            <a:avLst/>
            <a:gdLst>
              <a:gd name="T0" fmla="*/ 5102959 w 40"/>
              <a:gd name="T1" fmla="*/ 58323616 h 56"/>
              <a:gd name="T2" fmla="*/ 4720068 w 40"/>
              <a:gd name="T3" fmla="*/ 47909049 h 56"/>
              <a:gd name="T4" fmla="*/ 4210022 w 40"/>
              <a:gd name="T5" fmla="*/ 39576375 h 56"/>
              <a:gd name="T6" fmla="*/ 3572107 w 40"/>
              <a:gd name="T7" fmla="*/ 33327635 h 56"/>
              <a:gd name="T8" fmla="*/ 2934193 w 40"/>
              <a:gd name="T9" fmla="*/ 29161808 h 56"/>
              <a:gd name="T10" fmla="*/ 1403341 w 40"/>
              <a:gd name="T11" fmla="*/ 21871101 h 56"/>
              <a:gd name="T12" fmla="*/ 0 w 40"/>
              <a:gd name="T13" fmla="*/ 12497480 h 56"/>
              <a:gd name="T14" fmla="*/ 1658364 w 40"/>
              <a:gd name="T15" fmla="*/ 4165827 h 56"/>
              <a:gd name="T16" fmla="*/ 2551658 w 40"/>
              <a:gd name="T17" fmla="*/ 0 h 56"/>
              <a:gd name="T18" fmla="*/ 3572107 w 40"/>
              <a:gd name="T19" fmla="*/ 12497480 h 56"/>
              <a:gd name="T20" fmla="*/ 4465045 w 40"/>
              <a:gd name="T21" fmla="*/ 22913068 h 56"/>
              <a:gd name="T22" fmla="*/ 4720068 w 40"/>
              <a:gd name="T23" fmla="*/ 26036928 h 56"/>
              <a:gd name="T24" fmla="*/ 4975448 w 40"/>
              <a:gd name="T25" fmla="*/ 30203775 h 56"/>
              <a:gd name="T26" fmla="*/ 4975448 w 40"/>
              <a:gd name="T27" fmla="*/ 34369602 h 56"/>
              <a:gd name="T28" fmla="*/ 5102959 w 40"/>
              <a:gd name="T29" fmla="*/ 38535429 h 56"/>
              <a:gd name="T30" fmla="*/ 5102959 w 40"/>
              <a:gd name="T31" fmla="*/ 45826136 h 56"/>
              <a:gd name="T32" fmla="*/ 5102959 w 40"/>
              <a:gd name="T33" fmla="*/ 47909049 h 56"/>
              <a:gd name="T34" fmla="*/ 5102959 w 40"/>
              <a:gd name="T35" fmla="*/ 51032909 h 56"/>
              <a:gd name="T36" fmla="*/ 5102959 w 40"/>
              <a:gd name="T37" fmla="*/ 58323616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2" name="Freeform 109">
            <a:extLst>
              <a:ext uri="{FF2B5EF4-FFF2-40B4-BE49-F238E27FC236}">
                <a16:creationId xmlns:a16="http://schemas.microsoft.com/office/drawing/2014/main" id="{CCA18B45-683E-448D-8B70-1D85F63B4DE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2806007" y="4893389"/>
            <a:ext cx="16001" cy="212811"/>
          </a:xfrm>
          <a:custGeom>
            <a:avLst/>
            <a:gdLst>
              <a:gd name="T0" fmla="*/ 2061513 w 11"/>
              <a:gd name="T1" fmla="*/ 0 h 25"/>
              <a:gd name="T2" fmla="*/ 2061513 w 11"/>
              <a:gd name="T3" fmla="*/ 27602161 h 25"/>
              <a:gd name="T4" fmla="*/ 1874063 w 11"/>
              <a:gd name="T5" fmla="*/ 66242367 h 25"/>
              <a:gd name="T6" fmla="*/ 1686614 w 11"/>
              <a:gd name="T7" fmla="*/ 110403945 h 25"/>
              <a:gd name="T8" fmla="*/ 749799 w 11"/>
              <a:gd name="T9" fmla="*/ 138006106 h 25"/>
              <a:gd name="T10" fmla="*/ 374899 w 11"/>
              <a:gd name="T11" fmla="*/ 126965711 h 25"/>
              <a:gd name="T12" fmla="*/ 187450 w 11"/>
              <a:gd name="T13" fmla="*/ 110403945 h 25"/>
              <a:gd name="T14" fmla="*/ 0 w 11"/>
              <a:gd name="T15" fmla="*/ 82804133 h 25"/>
              <a:gd name="T16" fmla="*/ 0 w 11"/>
              <a:gd name="T17" fmla="*/ 66242367 h 25"/>
              <a:gd name="T18" fmla="*/ 187450 w 11"/>
              <a:gd name="T19" fmla="*/ 49682950 h 25"/>
              <a:gd name="T20" fmla="*/ 562349 w 11"/>
              <a:gd name="T21" fmla="*/ 27602161 h 25"/>
              <a:gd name="T22" fmla="*/ 1124265 w 11"/>
              <a:gd name="T23" fmla="*/ 11040394 h 25"/>
              <a:gd name="T24" fmla="*/ 2061513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3" name="Freeform 110">
            <a:extLst>
              <a:ext uri="{FF2B5EF4-FFF2-40B4-BE49-F238E27FC236}">
                <a16:creationId xmlns:a16="http://schemas.microsoft.com/office/drawing/2014/main" id="{F15702E8-3F93-4759-8F72-DA6F89A7D276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2181937" y="7626140"/>
            <a:ext cx="48008" cy="212811"/>
          </a:xfrm>
          <a:custGeom>
            <a:avLst/>
            <a:gdLst>
              <a:gd name="T0" fmla="*/ 10207347 w 20"/>
              <a:gd name="T1" fmla="*/ 0 h 31"/>
              <a:gd name="T2" fmla="*/ 8165592 w 20"/>
              <a:gd name="T3" fmla="*/ 43081481 h 31"/>
              <a:gd name="T4" fmla="*/ 5103674 w 20"/>
              <a:gd name="T5" fmla="*/ 71802468 h 31"/>
              <a:gd name="T6" fmla="*/ 2551837 w 20"/>
              <a:gd name="T7" fmla="*/ 93344156 h 31"/>
              <a:gd name="T8" fmla="*/ 0 w 20"/>
              <a:gd name="T9" fmla="*/ 111295247 h 31"/>
              <a:gd name="T10" fmla="*/ 0 w 20"/>
              <a:gd name="T11" fmla="*/ 89753559 h 31"/>
              <a:gd name="T12" fmla="*/ 510082 w 20"/>
              <a:gd name="T13" fmla="*/ 68213766 h 31"/>
              <a:gd name="T14" fmla="*/ 1020878 w 20"/>
              <a:gd name="T15" fmla="*/ 46672078 h 31"/>
              <a:gd name="T16" fmla="*/ 2551837 w 20"/>
              <a:gd name="T17" fmla="*/ 32311584 h 31"/>
              <a:gd name="T18" fmla="*/ 4082796 w 20"/>
              <a:gd name="T19" fmla="*/ 21541688 h 31"/>
              <a:gd name="T20" fmla="*/ 5613755 w 20"/>
              <a:gd name="T21" fmla="*/ 10769897 h 31"/>
              <a:gd name="T22" fmla="*/ 8165592 w 20"/>
              <a:gd name="T23" fmla="*/ 0 h 31"/>
              <a:gd name="T24" fmla="*/ 102073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4" name="Freeform 111">
            <a:extLst>
              <a:ext uri="{FF2B5EF4-FFF2-40B4-BE49-F238E27FC236}">
                <a16:creationId xmlns:a16="http://schemas.microsoft.com/office/drawing/2014/main" id="{87499A3C-66AB-4A3D-8319-9F6C2CDFD4EC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2240613" y="7390328"/>
            <a:ext cx="53340" cy="207057"/>
          </a:xfrm>
          <a:custGeom>
            <a:avLst/>
            <a:gdLst>
              <a:gd name="T0" fmla="*/ 4846760 w 26"/>
              <a:gd name="T1" fmla="*/ 88273581 h 37"/>
              <a:gd name="T2" fmla="*/ 0 w 26"/>
              <a:gd name="T3" fmla="*/ 28629061 h 37"/>
              <a:gd name="T4" fmla="*/ 2236543 w 26"/>
              <a:gd name="T5" fmla="*/ 16700157 h 37"/>
              <a:gd name="T6" fmla="*/ 4846760 w 26"/>
              <a:gd name="T7" fmla="*/ 9542505 h 37"/>
              <a:gd name="T8" fmla="*/ 7828817 w 26"/>
              <a:gd name="T9" fmla="*/ 2386399 h 37"/>
              <a:gd name="T10" fmla="*/ 9692909 w 26"/>
              <a:gd name="T11" fmla="*/ 0 h 37"/>
              <a:gd name="T12" fmla="*/ 9692909 w 26"/>
              <a:gd name="T13" fmla="*/ 14315303 h 37"/>
              <a:gd name="T14" fmla="*/ 9319846 w 26"/>
              <a:gd name="T15" fmla="*/ 26244207 h 37"/>
              <a:gd name="T16" fmla="*/ 8947394 w 26"/>
              <a:gd name="T17" fmla="*/ 40557965 h 37"/>
              <a:gd name="T18" fmla="*/ 8574332 w 26"/>
              <a:gd name="T19" fmla="*/ 50100470 h 37"/>
              <a:gd name="T20" fmla="*/ 6710240 w 26"/>
              <a:gd name="T21" fmla="*/ 69187026 h 37"/>
              <a:gd name="T22" fmla="*/ 4846760 w 26"/>
              <a:gd name="T23" fmla="*/ 88273581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5" name="Freeform 112">
            <a:extLst>
              <a:ext uri="{FF2B5EF4-FFF2-40B4-BE49-F238E27FC236}">
                <a16:creationId xmlns:a16="http://schemas.microsoft.com/office/drawing/2014/main" id="{EE63934A-A216-41B7-8C31-E4D4935A5CB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1867239" y="6843926"/>
            <a:ext cx="5331" cy="218559"/>
          </a:xfrm>
          <a:custGeom>
            <a:avLst/>
            <a:gdLst>
              <a:gd name="T0" fmla="*/ 0 w 7"/>
              <a:gd name="T1" fmla="*/ 202172535 h 18"/>
              <a:gd name="T2" fmla="*/ 0 w 7"/>
              <a:gd name="T3" fmla="*/ 0 h 18"/>
              <a:gd name="T4" fmla="*/ 359796 w 7"/>
              <a:gd name="T5" fmla="*/ 134782807 h 18"/>
              <a:gd name="T6" fmla="*/ 0 w 7"/>
              <a:gd name="T7" fmla="*/ 20217253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6" name="Freeform 113">
            <a:extLst>
              <a:ext uri="{FF2B5EF4-FFF2-40B4-BE49-F238E27FC236}">
                <a16:creationId xmlns:a16="http://schemas.microsoft.com/office/drawing/2014/main" id="{3B7FE08B-79FE-4991-B9BC-37FD6FF6E9D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277354" y="3718646"/>
            <a:ext cx="32004" cy="207057"/>
          </a:xfrm>
          <a:custGeom>
            <a:avLst/>
            <a:gdLst>
              <a:gd name="T0" fmla="*/ 0 w 33"/>
              <a:gd name="T1" fmla="*/ 40784821 h 31"/>
              <a:gd name="T2" fmla="*/ 1582882 w 33"/>
              <a:gd name="T3" fmla="*/ 0 h 31"/>
              <a:gd name="T4" fmla="*/ 1999384 w 33"/>
              <a:gd name="T5" fmla="*/ 16993829 h 31"/>
              <a:gd name="T6" fmla="*/ 2332759 w 33"/>
              <a:gd name="T7" fmla="*/ 40784821 h 31"/>
              <a:gd name="T8" fmla="*/ 2665845 w 33"/>
              <a:gd name="T9" fmla="*/ 74770635 h 31"/>
              <a:gd name="T10" fmla="*/ 2749261 w 33"/>
              <a:gd name="T11" fmla="*/ 105358790 h 31"/>
              <a:gd name="T12" fmla="*/ 2249343 w 33"/>
              <a:gd name="T13" fmla="*/ 101959287 h 31"/>
              <a:gd name="T14" fmla="*/ 1832841 w 33"/>
              <a:gd name="T15" fmla="*/ 95162124 h 31"/>
              <a:gd name="T16" fmla="*/ 1332923 w 33"/>
              <a:gd name="T17" fmla="*/ 84967302 h 31"/>
              <a:gd name="T18" fmla="*/ 916420 w 33"/>
              <a:gd name="T19" fmla="*/ 74770635 h 31"/>
              <a:gd name="T20" fmla="*/ 249959 w 33"/>
              <a:gd name="T21" fmla="*/ 50979644 h 31"/>
              <a:gd name="T22" fmla="*/ 0 w 33"/>
              <a:gd name="T23" fmla="*/ 40784821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7" name="Freeform 114">
            <a:extLst>
              <a:ext uri="{FF2B5EF4-FFF2-40B4-BE49-F238E27FC236}">
                <a16:creationId xmlns:a16="http://schemas.microsoft.com/office/drawing/2014/main" id="{63E1BC12-46F5-4E5A-A49C-4A43275FEF61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1229350" y="2878911"/>
            <a:ext cx="10667" cy="207057"/>
          </a:xfrm>
          <a:custGeom>
            <a:avLst/>
            <a:gdLst>
              <a:gd name="T0" fmla="*/ 720045 w 14"/>
              <a:gd name="T1" fmla="*/ 0 h 6"/>
              <a:gd name="T2" fmla="*/ 0 w 14"/>
              <a:gd name="T3" fmla="*/ 544353750 h 6"/>
              <a:gd name="T4" fmla="*/ 72004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8" name="Freeform 161">
            <a:extLst>
              <a:ext uri="{FF2B5EF4-FFF2-40B4-BE49-F238E27FC236}">
                <a16:creationId xmlns:a16="http://schemas.microsoft.com/office/drawing/2014/main" id="{7095EE26-EF85-4D25-B995-8B7934B3388B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8274199" y="4818402"/>
            <a:ext cx="2448272" cy="1202082"/>
          </a:xfrm>
          <a:custGeom>
            <a:avLst/>
            <a:gdLst>
              <a:gd name="T0" fmla="*/ 5962683 w 1688"/>
              <a:gd name="T1" fmla="*/ 59909146 h 630"/>
              <a:gd name="T2" fmla="*/ 16025384 w 1688"/>
              <a:gd name="T3" fmla="*/ 69061727 h 630"/>
              <a:gd name="T4" fmla="*/ 28882729 w 1688"/>
              <a:gd name="T5" fmla="*/ 73222231 h 630"/>
              <a:gd name="T6" fmla="*/ 35590908 w 1688"/>
              <a:gd name="T7" fmla="*/ 77937293 h 630"/>
              <a:gd name="T8" fmla="*/ 44349097 w 1688"/>
              <a:gd name="T9" fmla="*/ 91804936 h 630"/>
              <a:gd name="T10" fmla="*/ 47144172 w 1688"/>
              <a:gd name="T11" fmla="*/ 96797014 h 630"/>
              <a:gd name="T12" fmla="*/ 47330655 w 1688"/>
              <a:gd name="T13" fmla="*/ 107059239 h 630"/>
              <a:gd name="T14" fmla="*/ 50870795 w 1688"/>
              <a:gd name="T15" fmla="*/ 113161486 h 630"/>
              <a:gd name="T16" fmla="*/ 63542089 w 1688"/>
              <a:gd name="T17" fmla="*/ 115380246 h 630"/>
              <a:gd name="T18" fmla="*/ 86275653 w 1688"/>
              <a:gd name="T19" fmla="*/ 125364928 h 630"/>
              <a:gd name="T20" fmla="*/ 101742022 w 1688"/>
              <a:gd name="T21" fmla="*/ 130079990 h 630"/>
              <a:gd name="T22" fmla="*/ 107145689 w 1688"/>
              <a:gd name="T23" fmla="*/ 141451331 h 630"/>
              <a:gd name="T24" fmla="*/ 115903879 w 1688"/>
              <a:gd name="T25" fmla="*/ 150326897 h 630"/>
              <a:gd name="T26" fmla="*/ 124848118 w 1688"/>
              <a:gd name="T27" fmla="*/ 153932842 h 630"/>
              <a:gd name="T28" fmla="*/ 170874261 w 1688"/>
              <a:gd name="T29" fmla="*/ 159757020 h 630"/>
              <a:gd name="T30" fmla="*/ 193235292 w 1688"/>
              <a:gd name="T31" fmla="*/ 170296787 h 630"/>
              <a:gd name="T32" fmla="*/ 208142214 w 1688"/>
              <a:gd name="T33" fmla="*/ 174734307 h 630"/>
              <a:gd name="T34" fmla="*/ 215595891 w 1688"/>
              <a:gd name="T35" fmla="*/ 170019245 h 630"/>
              <a:gd name="T36" fmla="*/ 250441734 w 1688"/>
              <a:gd name="T37" fmla="*/ 156428618 h 630"/>
              <a:gd name="T38" fmla="*/ 259944988 w 1688"/>
              <a:gd name="T39" fmla="*/ 141451331 h 630"/>
              <a:gd name="T40" fmla="*/ 261435983 w 1688"/>
              <a:gd name="T41" fmla="*/ 133962951 h 630"/>
              <a:gd name="T42" fmla="*/ 258267943 w 1688"/>
              <a:gd name="T43" fmla="*/ 126197029 h 630"/>
              <a:gd name="T44" fmla="*/ 255286386 w 1688"/>
              <a:gd name="T45" fmla="*/ 115102703 h 630"/>
              <a:gd name="T46" fmla="*/ 279324462 w 1688"/>
              <a:gd name="T47" fmla="*/ 109278525 h 630"/>
              <a:gd name="T48" fmla="*/ 297026891 w 1688"/>
              <a:gd name="T49" fmla="*/ 95133339 h 630"/>
              <a:gd name="T50" fmla="*/ 307648176 w 1688"/>
              <a:gd name="T51" fmla="*/ 90140735 h 630"/>
              <a:gd name="T52" fmla="*/ 314542838 w 1688"/>
              <a:gd name="T53" fmla="*/ 82374812 h 630"/>
              <a:gd name="T54" fmla="*/ 308580155 w 1688"/>
              <a:gd name="T55" fmla="*/ 77382208 h 630"/>
              <a:gd name="T56" fmla="*/ 301685493 w 1688"/>
              <a:gd name="T57" fmla="*/ 69893828 h 630"/>
              <a:gd name="T58" fmla="*/ 294976882 w 1688"/>
              <a:gd name="T59" fmla="*/ 68784185 h 630"/>
              <a:gd name="T60" fmla="*/ 289386732 w 1688"/>
              <a:gd name="T61" fmla="*/ 71558030 h 630"/>
              <a:gd name="T62" fmla="*/ 278951930 w 1688"/>
              <a:gd name="T63" fmla="*/ 71002945 h 630"/>
              <a:gd name="T64" fmla="*/ 271498253 w 1688"/>
              <a:gd name="T65" fmla="*/ 65178766 h 630"/>
              <a:gd name="T66" fmla="*/ 267212183 w 1688"/>
              <a:gd name="T67" fmla="*/ 51865681 h 630"/>
              <a:gd name="T68" fmla="*/ 254727371 w 1688"/>
              <a:gd name="T69" fmla="*/ 34392092 h 630"/>
              <a:gd name="T70" fmla="*/ 239633967 w 1688"/>
              <a:gd name="T71" fmla="*/ 33282976 h 630"/>
              <a:gd name="T72" fmla="*/ 234788883 w 1688"/>
              <a:gd name="T73" fmla="*/ 40771356 h 630"/>
              <a:gd name="T74" fmla="*/ 230316763 w 1688"/>
              <a:gd name="T75" fmla="*/ 45763960 h 630"/>
              <a:gd name="T76" fmla="*/ 217645900 w 1688"/>
              <a:gd name="T77" fmla="*/ 46318518 h 630"/>
              <a:gd name="T78" fmla="*/ 194539372 w 1688"/>
              <a:gd name="T79" fmla="*/ 46318518 h 630"/>
              <a:gd name="T80" fmla="*/ 183731605 w 1688"/>
              <a:gd name="T81" fmla="*/ 38829612 h 630"/>
              <a:gd name="T82" fmla="*/ 171805808 w 1688"/>
              <a:gd name="T83" fmla="*/ 29954573 h 630"/>
              <a:gd name="T84" fmla="*/ 158761982 w 1688"/>
              <a:gd name="T85" fmla="*/ 27735813 h 630"/>
              <a:gd name="T86" fmla="*/ 149258727 w 1688"/>
              <a:gd name="T87" fmla="*/ 31618774 h 630"/>
              <a:gd name="T88" fmla="*/ 137891945 w 1688"/>
              <a:gd name="T89" fmla="*/ 32173333 h 630"/>
              <a:gd name="T90" fmla="*/ 128947705 w 1688"/>
              <a:gd name="T91" fmla="*/ 28012829 h 630"/>
              <a:gd name="T92" fmla="*/ 123357556 w 1688"/>
              <a:gd name="T93" fmla="*/ 18860248 h 630"/>
              <a:gd name="T94" fmla="*/ 83108045 w 1688"/>
              <a:gd name="T95" fmla="*/ 1941744 h 630"/>
              <a:gd name="T96" fmla="*/ 83108045 w 1688"/>
              <a:gd name="T97" fmla="*/ 12203442 h 630"/>
              <a:gd name="T98" fmla="*/ 87766216 w 1688"/>
              <a:gd name="T99" fmla="*/ 21911108 h 630"/>
              <a:gd name="T100" fmla="*/ 91306788 w 1688"/>
              <a:gd name="T101" fmla="*/ 29399488 h 630"/>
              <a:gd name="T102" fmla="*/ 57206442 w 1688"/>
              <a:gd name="T103" fmla="*/ 33837534 h 630"/>
              <a:gd name="T104" fmla="*/ 54784332 w 1688"/>
              <a:gd name="T105" fmla="*/ 24129868 h 630"/>
              <a:gd name="T106" fmla="*/ 41926555 w 1688"/>
              <a:gd name="T107" fmla="*/ 26903713 h 630"/>
              <a:gd name="T108" fmla="*/ 34472878 w 1688"/>
              <a:gd name="T109" fmla="*/ 24407410 h 630"/>
              <a:gd name="T110" fmla="*/ 25715121 w 1688"/>
              <a:gd name="T111" fmla="*/ 26903713 h 630"/>
              <a:gd name="T112" fmla="*/ 12671294 w 1688"/>
              <a:gd name="T113" fmla="*/ 39661713 h 630"/>
              <a:gd name="T114" fmla="*/ 5776632 w 1688"/>
              <a:gd name="T115" fmla="*/ 41880999 h 630"/>
              <a:gd name="T116" fmla="*/ 745497 w 1688"/>
              <a:gd name="T117" fmla="*/ 4687307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79" name="Freeform 227">
            <a:extLst>
              <a:ext uri="{FF2B5EF4-FFF2-40B4-BE49-F238E27FC236}">
                <a16:creationId xmlns:a16="http://schemas.microsoft.com/office/drawing/2014/main" id="{58494EBD-E9C6-4614-B85A-6AC12F86210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082777" y="2861662"/>
            <a:ext cx="1509501" cy="1311365"/>
          </a:xfrm>
          <a:custGeom>
            <a:avLst/>
            <a:gdLst>
              <a:gd name="T0" fmla="*/ 45045772 w 1037"/>
              <a:gd name="T1" fmla="*/ 171155139 h 690"/>
              <a:gd name="T2" fmla="*/ 29091989 w 1037"/>
              <a:gd name="T3" fmla="*/ 187940177 h 690"/>
              <a:gd name="T4" fmla="*/ 6005901 w 1037"/>
              <a:gd name="T5" fmla="*/ 179960491 h 690"/>
              <a:gd name="T6" fmla="*/ 12575437 w 1037"/>
              <a:gd name="T7" fmla="*/ 174456753 h 690"/>
              <a:gd name="T8" fmla="*/ 3378346 w 1037"/>
              <a:gd name="T9" fmla="*/ 164000594 h 690"/>
              <a:gd name="T10" fmla="*/ 8258276 w 1037"/>
              <a:gd name="T11" fmla="*/ 163725197 h 690"/>
              <a:gd name="T12" fmla="*/ 12575437 w 1037"/>
              <a:gd name="T13" fmla="*/ 156020383 h 690"/>
              <a:gd name="T14" fmla="*/ 1501584 w 1037"/>
              <a:gd name="T15" fmla="*/ 150242298 h 690"/>
              <a:gd name="T16" fmla="*/ 13888998 w 1037"/>
              <a:gd name="T17" fmla="*/ 143913418 h 690"/>
              <a:gd name="T18" fmla="*/ 0 w 1037"/>
              <a:gd name="T19" fmla="*/ 137309142 h 690"/>
              <a:gd name="T20" fmla="*/ 3753959 w 1037"/>
              <a:gd name="T21" fmla="*/ 125477049 h 690"/>
              <a:gd name="T22" fmla="*/ 6944715 w 1037"/>
              <a:gd name="T23" fmla="*/ 126852984 h 690"/>
              <a:gd name="T24" fmla="*/ 14452200 w 1037"/>
              <a:gd name="T25" fmla="*/ 123550846 h 690"/>
              <a:gd name="T26" fmla="*/ 17267344 w 1037"/>
              <a:gd name="T27" fmla="*/ 116671697 h 690"/>
              <a:gd name="T28" fmla="*/ 24399649 w 1037"/>
              <a:gd name="T29" fmla="*/ 112543894 h 690"/>
              <a:gd name="T30" fmla="*/ 41291813 w 1037"/>
              <a:gd name="T31" fmla="*/ 105114477 h 690"/>
              <a:gd name="T32" fmla="*/ 42605807 w 1037"/>
              <a:gd name="T33" fmla="*/ 93282383 h 690"/>
              <a:gd name="T34" fmla="*/ 53116459 w 1037"/>
              <a:gd name="T35" fmla="*/ 89429977 h 690"/>
              <a:gd name="T36" fmla="*/ 52928869 w 1037"/>
              <a:gd name="T37" fmla="*/ 85302173 h 690"/>
              <a:gd name="T38" fmla="*/ 55931603 w 1037"/>
              <a:gd name="T39" fmla="*/ 78423025 h 690"/>
              <a:gd name="T40" fmla="*/ 62876318 w 1037"/>
              <a:gd name="T41" fmla="*/ 66865804 h 690"/>
              <a:gd name="T42" fmla="*/ 64377902 w 1037"/>
              <a:gd name="T43" fmla="*/ 62188256 h 690"/>
              <a:gd name="T44" fmla="*/ 73199380 w 1037"/>
              <a:gd name="T45" fmla="*/ 55033711 h 690"/>
              <a:gd name="T46" fmla="*/ 72636178 w 1037"/>
              <a:gd name="T47" fmla="*/ 43201618 h 690"/>
              <a:gd name="T48" fmla="*/ 70008623 w 1037"/>
              <a:gd name="T49" fmla="*/ 39073814 h 690"/>
              <a:gd name="T50" fmla="*/ 62688728 w 1037"/>
              <a:gd name="T51" fmla="*/ 42375952 h 690"/>
              <a:gd name="T52" fmla="*/ 73199380 w 1037"/>
              <a:gd name="T53" fmla="*/ 28342259 h 690"/>
              <a:gd name="T54" fmla="*/ 77140928 w 1037"/>
              <a:gd name="T55" fmla="*/ 26416055 h 690"/>
              <a:gd name="T56" fmla="*/ 86900788 w 1037"/>
              <a:gd name="T57" fmla="*/ 31369000 h 690"/>
              <a:gd name="T58" fmla="*/ 87463557 w 1037"/>
              <a:gd name="T59" fmla="*/ 25040121 h 690"/>
              <a:gd name="T60" fmla="*/ 104731334 w 1037"/>
              <a:gd name="T61" fmla="*/ 16785038 h 690"/>
              <a:gd name="T62" fmla="*/ 110924824 w 1037"/>
              <a:gd name="T63" fmla="*/ 17335831 h 690"/>
              <a:gd name="T64" fmla="*/ 121060296 w 1037"/>
              <a:gd name="T65" fmla="*/ 15134231 h 690"/>
              <a:gd name="T66" fmla="*/ 121060296 w 1037"/>
              <a:gd name="T67" fmla="*/ 9080748 h 690"/>
              <a:gd name="T68" fmla="*/ 131195335 w 1037"/>
              <a:gd name="T69" fmla="*/ 3577010 h 690"/>
              <a:gd name="T70" fmla="*/ 132321739 w 1037"/>
              <a:gd name="T71" fmla="*/ 7979686 h 690"/>
              <a:gd name="T72" fmla="*/ 133635300 w 1037"/>
              <a:gd name="T73" fmla="*/ 11006952 h 690"/>
              <a:gd name="T74" fmla="*/ 142269188 w 1037"/>
              <a:gd name="T75" fmla="*/ 3302138 h 690"/>
              <a:gd name="T76" fmla="*/ 153343042 w 1037"/>
              <a:gd name="T77" fmla="*/ 1650807 h 690"/>
              <a:gd name="T78" fmla="*/ 158410561 w 1037"/>
              <a:gd name="T79" fmla="*/ 2201600 h 690"/>
              <a:gd name="T80" fmla="*/ 161788907 w 1037"/>
              <a:gd name="T81" fmla="*/ 3026741 h 690"/>
              <a:gd name="T82" fmla="*/ 173425963 w 1037"/>
              <a:gd name="T83" fmla="*/ 1650807 h 690"/>
              <a:gd name="T84" fmla="*/ 194634855 w 1037"/>
              <a:gd name="T85" fmla="*/ 11832093 h 690"/>
              <a:gd name="T86" fmla="*/ 188628954 w 1037"/>
              <a:gd name="T87" fmla="*/ 21738507 h 690"/>
              <a:gd name="T88" fmla="*/ 174551934 w 1037"/>
              <a:gd name="T89" fmla="*/ 15134231 h 690"/>
              <a:gd name="T90" fmla="*/ 163853693 w 1037"/>
              <a:gd name="T91" fmla="*/ 20362573 h 690"/>
              <a:gd name="T92" fmla="*/ 159161353 w 1037"/>
              <a:gd name="T93" fmla="*/ 31919793 h 690"/>
              <a:gd name="T94" fmla="*/ 152216637 w 1037"/>
              <a:gd name="T95" fmla="*/ 30543859 h 690"/>
              <a:gd name="T96" fmla="*/ 139829223 w 1037"/>
              <a:gd name="T97" fmla="*/ 35221407 h 690"/>
              <a:gd name="T98" fmla="*/ 130256953 w 1037"/>
              <a:gd name="T99" fmla="*/ 25315517 h 690"/>
              <a:gd name="T100" fmla="*/ 116367956 w 1037"/>
              <a:gd name="T101" fmla="*/ 30818731 h 690"/>
              <a:gd name="T102" fmla="*/ 100226583 w 1037"/>
              <a:gd name="T103" fmla="*/ 36872738 h 690"/>
              <a:gd name="T104" fmla="*/ 91217515 w 1037"/>
              <a:gd name="T105" fmla="*/ 57785580 h 690"/>
              <a:gd name="T106" fmla="*/ 80706864 w 1037"/>
              <a:gd name="T107" fmla="*/ 76772218 h 690"/>
              <a:gd name="T108" fmla="*/ 74888553 w 1037"/>
              <a:gd name="T109" fmla="*/ 100161532 h 690"/>
              <a:gd name="T110" fmla="*/ 62500706 w 1037"/>
              <a:gd name="T111" fmla="*/ 116946570 h 690"/>
              <a:gd name="T112" fmla="*/ 66630277 w 1037"/>
              <a:gd name="T113" fmla="*/ 136758873 h 690"/>
              <a:gd name="T114" fmla="*/ 66442254 w 1037"/>
              <a:gd name="T115" fmla="*/ 153543911 h 690"/>
              <a:gd name="T116" fmla="*/ 62125526 w 1037"/>
              <a:gd name="T117" fmla="*/ 169228936 h 690"/>
              <a:gd name="T118" fmla="*/ 55368834 w 1037"/>
              <a:gd name="T119" fmla="*/ 177484018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80" name="Freeform 228">
            <a:extLst>
              <a:ext uri="{FF2B5EF4-FFF2-40B4-BE49-F238E27FC236}">
                <a16:creationId xmlns:a16="http://schemas.microsoft.com/office/drawing/2014/main" id="{C0C0B16B-DE6B-46C6-BBFF-10C547005231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224237" y="5910010"/>
            <a:ext cx="165350" cy="327839"/>
          </a:xfrm>
          <a:custGeom>
            <a:avLst/>
            <a:gdLst>
              <a:gd name="T0" fmla="*/ 20181841 w 120"/>
              <a:gd name="T1" fmla="*/ 27084381 h 173"/>
              <a:gd name="T2" fmla="*/ 15472663 w 120"/>
              <a:gd name="T3" fmla="*/ 16414760 h 173"/>
              <a:gd name="T4" fmla="*/ 11772741 w 120"/>
              <a:gd name="T5" fmla="*/ 7660012 h 173"/>
              <a:gd name="T6" fmla="*/ 10090921 w 120"/>
              <a:gd name="T7" fmla="*/ 4377374 h 173"/>
              <a:gd name="T8" fmla="*/ 8913524 w 120"/>
              <a:gd name="T9" fmla="*/ 2188425 h 173"/>
              <a:gd name="T10" fmla="*/ 8072819 w 120"/>
              <a:gd name="T11" fmla="*/ 1094213 h 173"/>
              <a:gd name="T12" fmla="*/ 7568396 w 120"/>
              <a:gd name="T13" fmla="*/ 547106 h 173"/>
              <a:gd name="T14" fmla="*/ 7231703 w 120"/>
              <a:gd name="T15" fmla="*/ 273553 h 173"/>
              <a:gd name="T16" fmla="*/ 6559139 w 120"/>
              <a:gd name="T17" fmla="*/ 0 h 173"/>
              <a:gd name="T18" fmla="*/ 5549883 w 120"/>
              <a:gd name="T19" fmla="*/ 0 h 173"/>
              <a:gd name="T20" fmla="*/ 4541037 w 120"/>
              <a:gd name="T21" fmla="*/ 273553 h 173"/>
              <a:gd name="T22" fmla="*/ 4036204 w 120"/>
              <a:gd name="T23" fmla="*/ 820660 h 173"/>
              <a:gd name="T24" fmla="*/ 3531781 w 120"/>
              <a:gd name="T25" fmla="*/ 1367766 h 173"/>
              <a:gd name="T26" fmla="*/ 3195499 w 120"/>
              <a:gd name="T27" fmla="*/ 2188425 h 173"/>
              <a:gd name="T28" fmla="*/ 2691076 w 120"/>
              <a:gd name="T29" fmla="*/ 3283161 h 173"/>
              <a:gd name="T30" fmla="*/ 2522935 w 120"/>
              <a:gd name="T31" fmla="*/ 4103821 h 173"/>
              <a:gd name="T32" fmla="*/ 2522935 w 120"/>
              <a:gd name="T33" fmla="*/ 5471587 h 173"/>
              <a:gd name="T34" fmla="*/ 2354384 w 120"/>
              <a:gd name="T35" fmla="*/ 8207119 h 173"/>
              <a:gd name="T36" fmla="*/ 2018102 w 120"/>
              <a:gd name="T37" fmla="*/ 11490280 h 173"/>
              <a:gd name="T38" fmla="*/ 1681820 w 120"/>
              <a:gd name="T39" fmla="*/ 13131599 h 173"/>
              <a:gd name="T40" fmla="*/ 1345538 w 120"/>
              <a:gd name="T41" fmla="*/ 14772918 h 173"/>
              <a:gd name="T42" fmla="*/ 672564 w 120"/>
              <a:gd name="T43" fmla="*/ 16688313 h 173"/>
              <a:gd name="T44" fmla="*/ 0 w 120"/>
              <a:gd name="T45" fmla="*/ 18603186 h 173"/>
              <a:gd name="T46" fmla="*/ 841115 w 120"/>
              <a:gd name="T47" fmla="*/ 22433453 h 173"/>
              <a:gd name="T48" fmla="*/ 1681820 w 120"/>
              <a:gd name="T49" fmla="*/ 27084381 h 173"/>
              <a:gd name="T50" fmla="*/ 2522935 w 120"/>
              <a:gd name="T51" fmla="*/ 31461232 h 173"/>
              <a:gd name="T52" fmla="*/ 3363640 w 120"/>
              <a:gd name="T53" fmla="*/ 35291499 h 173"/>
              <a:gd name="T54" fmla="*/ 4036204 w 120"/>
              <a:gd name="T55" fmla="*/ 36659265 h 173"/>
              <a:gd name="T56" fmla="*/ 5045460 w 120"/>
              <a:gd name="T57" fmla="*/ 38027031 h 173"/>
              <a:gd name="T58" fmla="*/ 6222857 w 120"/>
              <a:gd name="T59" fmla="*/ 39668873 h 173"/>
              <a:gd name="T60" fmla="*/ 7736537 w 120"/>
              <a:gd name="T61" fmla="*/ 41310192 h 173"/>
              <a:gd name="T62" fmla="*/ 9081665 w 120"/>
              <a:gd name="T63" fmla="*/ 42951511 h 173"/>
              <a:gd name="T64" fmla="*/ 10090921 w 120"/>
              <a:gd name="T65" fmla="*/ 44593354 h 173"/>
              <a:gd name="T66" fmla="*/ 10427203 w 120"/>
              <a:gd name="T67" fmla="*/ 45140460 h 173"/>
              <a:gd name="T68" fmla="*/ 10932036 w 120"/>
              <a:gd name="T69" fmla="*/ 45961119 h 173"/>
              <a:gd name="T70" fmla="*/ 11100177 w 120"/>
              <a:gd name="T71" fmla="*/ 46508226 h 173"/>
              <a:gd name="T72" fmla="*/ 11268318 w 120"/>
              <a:gd name="T73" fmla="*/ 47328885 h 173"/>
              <a:gd name="T74" fmla="*/ 12781997 w 120"/>
              <a:gd name="T75" fmla="*/ 45687566 h 173"/>
              <a:gd name="T76" fmla="*/ 14463817 w 120"/>
              <a:gd name="T77" fmla="*/ 43772171 h 173"/>
              <a:gd name="T78" fmla="*/ 15640804 w 120"/>
              <a:gd name="T79" fmla="*/ 41583745 h 173"/>
              <a:gd name="T80" fmla="*/ 16986342 w 120"/>
              <a:gd name="T81" fmla="*/ 38848214 h 173"/>
              <a:gd name="T82" fmla="*/ 17827457 w 120"/>
              <a:gd name="T83" fmla="*/ 36112159 h 173"/>
              <a:gd name="T84" fmla="*/ 18836303 w 120"/>
              <a:gd name="T85" fmla="*/ 33103074 h 173"/>
              <a:gd name="T86" fmla="*/ 19509277 w 120"/>
              <a:gd name="T87" fmla="*/ 30093466 h 173"/>
              <a:gd name="T88" fmla="*/ 20181841 w 120"/>
              <a:gd name="T89" fmla="*/ 27084381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81" name="Freeform 229">
            <a:extLst>
              <a:ext uri="{FF2B5EF4-FFF2-40B4-BE49-F238E27FC236}">
                <a16:creationId xmlns:a16="http://schemas.microsoft.com/office/drawing/2014/main" id="{257B1951-38E1-4EE3-85A8-A2FD159FDF3D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242798" y="5329092"/>
            <a:ext cx="282698" cy="212811"/>
          </a:xfrm>
          <a:custGeom>
            <a:avLst/>
            <a:gdLst>
              <a:gd name="T0" fmla="*/ 35395174 w 200"/>
              <a:gd name="T1" fmla="*/ 19758145 h 98"/>
              <a:gd name="T2" fmla="*/ 34510473 w 200"/>
              <a:gd name="T3" fmla="*/ 20117765 h 98"/>
              <a:gd name="T4" fmla="*/ 32917339 w 200"/>
              <a:gd name="T5" fmla="*/ 21554449 h 98"/>
              <a:gd name="T6" fmla="*/ 31324626 w 200"/>
              <a:gd name="T7" fmla="*/ 23350752 h 98"/>
              <a:gd name="T8" fmla="*/ 29378116 w 200"/>
              <a:gd name="T9" fmla="*/ 26224719 h 98"/>
              <a:gd name="T10" fmla="*/ 27431186 w 200"/>
              <a:gd name="T11" fmla="*/ 28739065 h 98"/>
              <a:gd name="T12" fmla="*/ 25661364 w 200"/>
              <a:gd name="T13" fmla="*/ 31254010 h 98"/>
              <a:gd name="T14" fmla="*/ 24245759 w 200"/>
              <a:gd name="T15" fmla="*/ 33409335 h 98"/>
              <a:gd name="T16" fmla="*/ 23537746 w 200"/>
              <a:gd name="T17" fmla="*/ 35205639 h 98"/>
              <a:gd name="T18" fmla="*/ 22475937 w 200"/>
              <a:gd name="T19" fmla="*/ 35205639 h 98"/>
              <a:gd name="T20" fmla="*/ 21591237 w 200"/>
              <a:gd name="T21" fmla="*/ 35205639 h 98"/>
              <a:gd name="T22" fmla="*/ 20529007 w 200"/>
              <a:gd name="T23" fmla="*/ 34846618 h 98"/>
              <a:gd name="T24" fmla="*/ 19644307 w 200"/>
              <a:gd name="T25" fmla="*/ 34127977 h 98"/>
              <a:gd name="T26" fmla="*/ 18759606 w 200"/>
              <a:gd name="T27" fmla="*/ 33409335 h 98"/>
              <a:gd name="T28" fmla="*/ 18228702 w 200"/>
              <a:gd name="T29" fmla="*/ 31613031 h 98"/>
              <a:gd name="T30" fmla="*/ 17874485 w 200"/>
              <a:gd name="T31" fmla="*/ 29457706 h 98"/>
              <a:gd name="T32" fmla="*/ 17697797 w 200"/>
              <a:gd name="T33" fmla="*/ 26583740 h 98"/>
              <a:gd name="T34" fmla="*/ 16104663 w 200"/>
              <a:gd name="T35" fmla="*/ 28739065 h 98"/>
              <a:gd name="T36" fmla="*/ 14511950 w 200"/>
              <a:gd name="T37" fmla="*/ 30894989 h 98"/>
              <a:gd name="T38" fmla="*/ 13803937 w 200"/>
              <a:gd name="T39" fmla="*/ 32331673 h 98"/>
              <a:gd name="T40" fmla="*/ 12742128 w 200"/>
              <a:gd name="T41" fmla="*/ 33409335 h 98"/>
              <a:gd name="T42" fmla="*/ 11857427 w 200"/>
              <a:gd name="T43" fmla="*/ 34486998 h 98"/>
              <a:gd name="T44" fmla="*/ 10618510 w 200"/>
              <a:gd name="T45" fmla="*/ 35205639 h 98"/>
              <a:gd name="T46" fmla="*/ 6902179 w 200"/>
              <a:gd name="T47" fmla="*/ 35205639 h 98"/>
              <a:gd name="T48" fmla="*/ 6017058 w 200"/>
              <a:gd name="T49" fmla="*/ 35205639 h 98"/>
              <a:gd name="T50" fmla="*/ 4955249 w 200"/>
              <a:gd name="T51" fmla="*/ 34127977 h 98"/>
              <a:gd name="T52" fmla="*/ 3893440 w 200"/>
              <a:gd name="T53" fmla="*/ 33050314 h 98"/>
              <a:gd name="T54" fmla="*/ 2654522 w 200"/>
              <a:gd name="T55" fmla="*/ 31972652 h 98"/>
              <a:gd name="T56" fmla="*/ 1592713 w 200"/>
              <a:gd name="T57" fmla="*/ 30535369 h 98"/>
              <a:gd name="T58" fmla="*/ 708013 w 200"/>
              <a:gd name="T59" fmla="*/ 29098685 h 98"/>
              <a:gd name="T60" fmla="*/ 177108 w 200"/>
              <a:gd name="T61" fmla="*/ 27661402 h 98"/>
              <a:gd name="T62" fmla="*/ 0 w 200"/>
              <a:gd name="T63" fmla="*/ 26583740 h 98"/>
              <a:gd name="T64" fmla="*/ 884701 w 200"/>
              <a:gd name="T65" fmla="*/ 25506077 h 98"/>
              <a:gd name="T66" fmla="*/ 1769822 w 200"/>
              <a:gd name="T67" fmla="*/ 24069394 h 98"/>
              <a:gd name="T68" fmla="*/ 2477835 w 200"/>
              <a:gd name="T69" fmla="*/ 21554449 h 98"/>
              <a:gd name="T70" fmla="*/ 3539644 w 200"/>
              <a:gd name="T71" fmla="*/ 19039503 h 98"/>
              <a:gd name="T72" fmla="*/ 4070548 w 200"/>
              <a:gd name="T73" fmla="*/ 16166136 h 98"/>
              <a:gd name="T74" fmla="*/ 4778140 w 200"/>
              <a:gd name="T75" fmla="*/ 13292170 h 98"/>
              <a:gd name="T76" fmla="*/ 5309465 w 200"/>
              <a:gd name="T77" fmla="*/ 10058583 h 98"/>
              <a:gd name="T78" fmla="*/ 5840370 w 200"/>
              <a:gd name="T79" fmla="*/ 6825595 h 98"/>
              <a:gd name="T80" fmla="*/ 11680319 w 200"/>
              <a:gd name="T81" fmla="*/ 5029291 h 98"/>
              <a:gd name="T82" fmla="*/ 18228702 w 200"/>
              <a:gd name="T83" fmla="*/ 3232987 h 98"/>
              <a:gd name="T84" fmla="*/ 25661364 w 200"/>
              <a:gd name="T85" fmla="*/ 1436684 h 98"/>
              <a:gd name="T86" fmla="*/ 34156257 w 200"/>
              <a:gd name="T87" fmla="*/ 0 h 98"/>
              <a:gd name="T88" fmla="*/ 29378116 w 200"/>
              <a:gd name="T89" fmla="*/ 11136245 h 98"/>
              <a:gd name="T90" fmla="*/ 29378116 w 200"/>
              <a:gd name="T91" fmla="*/ 12213908 h 98"/>
              <a:gd name="T92" fmla="*/ 29023900 w 200"/>
              <a:gd name="T93" fmla="*/ 13292170 h 98"/>
              <a:gd name="T94" fmla="*/ 28670103 w 200"/>
              <a:gd name="T95" fmla="*/ 14010212 h 98"/>
              <a:gd name="T96" fmla="*/ 28492995 w 200"/>
              <a:gd name="T97" fmla="*/ 14728853 h 98"/>
              <a:gd name="T98" fmla="*/ 27785403 w 200"/>
              <a:gd name="T99" fmla="*/ 16166136 h 98"/>
              <a:gd name="T100" fmla="*/ 27608294 w 200"/>
              <a:gd name="T101" fmla="*/ 16884178 h 98"/>
              <a:gd name="T102" fmla="*/ 27608294 w 200"/>
              <a:gd name="T103" fmla="*/ 17602820 h 98"/>
              <a:gd name="T104" fmla="*/ 27785403 w 200"/>
              <a:gd name="T105" fmla="*/ 17961841 h 98"/>
              <a:gd name="T106" fmla="*/ 28139199 w 200"/>
              <a:gd name="T107" fmla="*/ 17961841 h 98"/>
              <a:gd name="T108" fmla="*/ 28847212 w 200"/>
              <a:gd name="T109" fmla="*/ 18321461 h 98"/>
              <a:gd name="T110" fmla="*/ 31324626 w 200"/>
              <a:gd name="T111" fmla="*/ 19039503 h 98"/>
              <a:gd name="T112" fmla="*/ 35395174 w 200"/>
              <a:gd name="T113" fmla="*/ 1975814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82" name="Freeform 230">
            <a:extLst>
              <a:ext uri="{FF2B5EF4-FFF2-40B4-BE49-F238E27FC236}">
                <a16:creationId xmlns:a16="http://schemas.microsoft.com/office/drawing/2014/main" id="{B5107710-1BD5-4A4F-BE4E-10E8D7DA4CFB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034768" y="4673416"/>
            <a:ext cx="282699" cy="264575"/>
          </a:xfrm>
          <a:custGeom>
            <a:avLst/>
            <a:gdLst>
              <a:gd name="T0" fmla="*/ 0 w 186"/>
              <a:gd name="T1" fmla="*/ 29619866 h 142"/>
              <a:gd name="T2" fmla="*/ 409381 w 186"/>
              <a:gd name="T3" fmla="*/ 30677700 h 142"/>
              <a:gd name="T4" fmla="*/ 613846 w 186"/>
              <a:gd name="T5" fmla="*/ 28297702 h 142"/>
              <a:gd name="T6" fmla="*/ 613846 w 186"/>
              <a:gd name="T7" fmla="*/ 24595026 h 142"/>
              <a:gd name="T8" fmla="*/ 1841537 w 186"/>
              <a:gd name="T9" fmla="*/ 21685854 h 142"/>
              <a:gd name="T10" fmla="*/ 3478609 w 186"/>
              <a:gd name="T11" fmla="*/ 18248022 h 142"/>
              <a:gd name="T12" fmla="*/ 4092454 w 186"/>
              <a:gd name="T13" fmla="*/ 14810190 h 142"/>
              <a:gd name="T14" fmla="*/ 4706300 w 186"/>
              <a:gd name="T15" fmla="*/ 12165348 h 142"/>
              <a:gd name="T16" fmla="*/ 5729526 w 186"/>
              <a:gd name="T17" fmla="*/ 9785350 h 142"/>
              <a:gd name="T18" fmla="*/ 7161682 w 186"/>
              <a:gd name="T19" fmla="*/ 8462672 h 142"/>
              <a:gd name="T20" fmla="*/ 8389825 w 186"/>
              <a:gd name="T21" fmla="*/ 10049680 h 142"/>
              <a:gd name="T22" fmla="*/ 8798754 w 186"/>
              <a:gd name="T23" fmla="*/ 12958852 h 142"/>
              <a:gd name="T24" fmla="*/ 9617516 w 186"/>
              <a:gd name="T25" fmla="*/ 15338850 h 142"/>
              <a:gd name="T26" fmla="*/ 11254588 w 186"/>
              <a:gd name="T27" fmla="*/ 17190188 h 142"/>
              <a:gd name="T28" fmla="*/ 17802425 w 186"/>
              <a:gd name="T29" fmla="*/ 17718848 h 142"/>
              <a:gd name="T30" fmla="*/ 16165353 w 186"/>
              <a:gd name="T31" fmla="*/ 10843184 h 142"/>
              <a:gd name="T32" fmla="*/ 14118899 w 186"/>
              <a:gd name="T33" fmla="*/ 9520506 h 142"/>
              <a:gd name="T34" fmla="*/ 12891208 w 186"/>
              <a:gd name="T35" fmla="*/ 7934012 h 142"/>
              <a:gd name="T36" fmla="*/ 12482279 w 186"/>
              <a:gd name="T37" fmla="*/ 6082674 h 142"/>
              <a:gd name="T38" fmla="*/ 14323816 w 186"/>
              <a:gd name="T39" fmla="*/ 4495666 h 142"/>
              <a:gd name="T40" fmla="*/ 17802425 w 186"/>
              <a:gd name="T41" fmla="*/ 3702676 h 142"/>
              <a:gd name="T42" fmla="*/ 20053342 w 186"/>
              <a:gd name="T43" fmla="*/ 2644842 h 142"/>
              <a:gd name="T44" fmla="*/ 22713189 w 186"/>
              <a:gd name="T45" fmla="*/ 1587008 h 142"/>
              <a:gd name="T46" fmla="*/ 26601179 w 186"/>
              <a:gd name="T47" fmla="*/ 793504 h 142"/>
              <a:gd name="T48" fmla="*/ 30079787 w 186"/>
              <a:gd name="T49" fmla="*/ 264330 h 142"/>
              <a:gd name="T50" fmla="*/ 32535169 w 186"/>
              <a:gd name="T51" fmla="*/ 529174 h 142"/>
              <a:gd name="T52" fmla="*/ 36013778 w 186"/>
              <a:gd name="T53" fmla="*/ 264330 h 142"/>
              <a:gd name="T54" fmla="*/ 37446386 w 186"/>
              <a:gd name="T55" fmla="*/ 2644842 h 142"/>
              <a:gd name="T56" fmla="*/ 36423159 w 186"/>
              <a:gd name="T57" fmla="*/ 6876178 h 142"/>
              <a:gd name="T58" fmla="*/ 34581623 w 186"/>
              <a:gd name="T59" fmla="*/ 10578340 h 142"/>
              <a:gd name="T60" fmla="*/ 32535169 w 186"/>
              <a:gd name="T61" fmla="*/ 13487512 h 142"/>
              <a:gd name="T62" fmla="*/ 31716860 w 186"/>
              <a:gd name="T63" fmla="*/ 16661014 h 142"/>
              <a:gd name="T64" fmla="*/ 31307478 w 186"/>
              <a:gd name="T65" fmla="*/ 20099360 h 142"/>
              <a:gd name="T66" fmla="*/ 24555178 w 186"/>
              <a:gd name="T67" fmla="*/ 37553878 h 142"/>
              <a:gd name="T68" fmla="*/ 16369817 w 186"/>
              <a:gd name="T69" fmla="*/ 32264708 h 142"/>
              <a:gd name="T70" fmla="*/ 7161682 w 186"/>
              <a:gd name="T71" fmla="*/ 30942030 h 142"/>
              <a:gd name="T72" fmla="*/ 1637072 w 186"/>
              <a:gd name="T73" fmla="*/ 29884196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83" name="Freeform 231">
            <a:extLst>
              <a:ext uri="{FF2B5EF4-FFF2-40B4-BE49-F238E27FC236}">
                <a16:creationId xmlns:a16="http://schemas.microsoft.com/office/drawing/2014/main" id="{DA0D4003-3E82-41DC-8B72-339BCFFD2E04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1970760" y="4903476"/>
            <a:ext cx="282699" cy="207057"/>
          </a:xfrm>
          <a:custGeom>
            <a:avLst/>
            <a:gdLst>
              <a:gd name="T0" fmla="*/ 36870849 w 192"/>
              <a:gd name="T1" fmla="*/ 18070830 h 105"/>
              <a:gd name="T2" fmla="*/ 36294592 w 192"/>
              <a:gd name="T3" fmla="*/ 18367466 h 105"/>
              <a:gd name="T4" fmla="*/ 35334454 w 192"/>
              <a:gd name="T5" fmla="*/ 18663557 h 105"/>
              <a:gd name="T6" fmla="*/ 34566257 w 192"/>
              <a:gd name="T7" fmla="*/ 18959649 h 105"/>
              <a:gd name="T8" fmla="*/ 33990437 w 192"/>
              <a:gd name="T9" fmla="*/ 19848467 h 105"/>
              <a:gd name="T10" fmla="*/ 32262103 w 192"/>
              <a:gd name="T11" fmla="*/ 21330013 h 105"/>
              <a:gd name="T12" fmla="*/ 30725708 w 192"/>
              <a:gd name="T13" fmla="*/ 23403741 h 105"/>
              <a:gd name="T14" fmla="*/ 29573631 w 192"/>
              <a:gd name="T15" fmla="*/ 25477470 h 105"/>
              <a:gd name="T16" fmla="*/ 28229175 w 192"/>
              <a:gd name="T17" fmla="*/ 27551199 h 105"/>
              <a:gd name="T18" fmla="*/ 27460978 w 192"/>
              <a:gd name="T19" fmla="*/ 29328291 h 105"/>
              <a:gd name="T20" fmla="*/ 26692781 w 192"/>
              <a:gd name="T21" fmla="*/ 31105929 h 105"/>
              <a:gd name="T22" fmla="*/ 23044171 w 192"/>
              <a:gd name="T23" fmla="*/ 28736109 h 105"/>
              <a:gd name="T24" fmla="*/ 19587502 w 192"/>
              <a:gd name="T25" fmla="*/ 26365744 h 105"/>
              <a:gd name="T26" fmla="*/ 16515150 w 192"/>
              <a:gd name="T27" fmla="*/ 23699833 h 105"/>
              <a:gd name="T28" fmla="*/ 13250420 w 192"/>
              <a:gd name="T29" fmla="*/ 21033377 h 105"/>
              <a:gd name="T30" fmla="*/ 10178069 w 192"/>
              <a:gd name="T31" fmla="*/ 18070830 h 105"/>
              <a:gd name="T32" fmla="*/ 6913339 w 192"/>
              <a:gd name="T33" fmla="*/ 15701010 h 105"/>
              <a:gd name="T34" fmla="*/ 3648609 w 192"/>
              <a:gd name="T35" fmla="*/ 13035099 h 105"/>
              <a:gd name="T36" fmla="*/ 0 w 192"/>
              <a:gd name="T37" fmla="*/ 10961370 h 105"/>
              <a:gd name="T38" fmla="*/ 0 w 192"/>
              <a:gd name="T39" fmla="*/ 3851366 h 105"/>
              <a:gd name="T40" fmla="*/ 1344455 w 192"/>
              <a:gd name="T41" fmla="*/ 2073729 h 105"/>
              <a:gd name="T42" fmla="*/ 3072790 w 192"/>
              <a:gd name="T43" fmla="*/ 1184910 h 105"/>
              <a:gd name="T44" fmla="*/ 5568884 w 192"/>
              <a:gd name="T45" fmla="*/ 296091 h 105"/>
              <a:gd name="T46" fmla="*/ 7681536 w 192"/>
              <a:gd name="T47" fmla="*/ 0 h 105"/>
              <a:gd name="T48" fmla="*/ 11522086 w 192"/>
              <a:gd name="T49" fmla="*/ 592727 h 105"/>
              <a:gd name="T50" fmla="*/ 17859167 w 192"/>
              <a:gd name="T51" fmla="*/ 1481001 h 105"/>
              <a:gd name="T52" fmla="*/ 21315836 w 192"/>
              <a:gd name="T53" fmla="*/ 2073729 h 105"/>
              <a:gd name="T54" fmla="*/ 24580566 w 192"/>
              <a:gd name="T55" fmla="*/ 2073729 h 105"/>
              <a:gd name="T56" fmla="*/ 27460978 w 192"/>
              <a:gd name="T57" fmla="*/ 2073729 h 105"/>
              <a:gd name="T58" fmla="*/ 29381253 w 192"/>
              <a:gd name="T59" fmla="*/ 1777637 h 105"/>
              <a:gd name="T60" fmla="*/ 29765570 w 192"/>
              <a:gd name="T61" fmla="*/ 3258639 h 105"/>
              <a:gd name="T62" fmla="*/ 30533768 w 192"/>
              <a:gd name="T63" fmla="*/ 5036276 h 105"/>
              <a:gd name="T64" fmla="*/ 30917647 w 192"/>
              <a:gd name="T65" fmla="*/ 5925094 h 105"/>
              <a:gd name="T66" fmla="*/ 31493905 w 192"/>
              <a:gd name="T67" fmla="*/ 6813913 h 105"/>
              <a:gd name="T68" fmla="*/ 31685845 w 192"/>
              <a:gd name="T69" fmla="*/ 7998823 h 105"/>
              <a:gd name="T70" fmla="*/ 31877785 w 192"/>
              <a:gd name="T71" fmla="*/ 9183733 h 105"/>
              <a:gd name="T72" fmla="*/ 32645982 w 192"/>
              <a:gd name="T73" fmla="*/ 9479824 h 105"/>
              <a:gd name="T74" fmla="*/ 33990437 w 192"/>
              <a:gd name="T75" fmla="*/ 9775916 h 105"/>
              <a:gd name="T76" fmla="*/ 34566257 w 192"/>
              <a:gd name="T77" fmla="*/ 10072551 h 105"/>
              <a:gd name="T78" fmla="*/ 35142514 w 192"/>
              <a:gd name="T79" fmla="*/ 10072551 h 105"/>
              <a:gd name="T80" fmla="*/ 36102652 w 192"/>
              <a:gd name="T81" fmla="*/ 9775916 h 105"/>
              <a:gd name="T82" fmla="*/ 36870849 w 192"/>
              <a:gd name="T83" fmla="*/ 9183733 h 105"/>
              <a:gd name="T84" fmla="*/ 36870849 w 192"/>
              <a:gd name="T85" fmla="*/ 18070830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84" name="Freeform 234">
            <a:extLst>
              <a:ext uri="{FF2B5EF4-FFF2-40B4-BE49-F238E27FC236}">
                <a16:creationId xmlns:a16="http://schemas.microsoft.com/office/drawing/2014/main" id="{BE51E3AB-BCC0-4E4E-BA8E-627E6D4562EE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999986" y="4397339"/>
            <a:ext cx="325373" cy="523397"/>
          </a:xfrm>
          <a:custGeom>
            <a:avLst/>
            <a:gdLst>
              <a:gd name="T0" fmla="*/ 34268601 w 225"/>
              <a:gd name="T1" fmla="*/ 18761140 h 273"/>
              <a:gd name="T2" fmla="*/ 32046061 w 225"/>
              <a:gd name="T3" fmla="*/ 21841430 h 273"/>
              <a:gd name="T4" fmla="*/ 29452525 w 225"/>
              <a:gd name="T5" fmla="*/ 22961679 h 273"/>
              <a:gd name="T6" fmla="*/ 30193658 w 225"/>
              <a:gd name="T7" fmla="*/ 26041969 h 273"/>
              <a:gd name="T8" fmla="*/ 32231130 w 225"/>
              <a:gd name="T9" fmla="*/ 28281940 h 273"/>
              <a:gd name="T10" fmla="*/ 36121004 w 225"/>
              <a:gd name="T11" fmla="*/ 29402189 h 273"/>
              <a:gd name="T12" fmla="*/ 41678214 w 225"/>
              <a:gd name="T13" fmla="*/ 29682119 h 273"/>
              <a:gd name="T14" fmla="*/ 41678214 w 225"/>
              <a:gd name="T15" fmla="*/ 42563139 h 273"/>
              <a:gd name="T16" fmla="*/ 41493146 w 225"/>
              <a:gd name="T17" fmla="*/ 49283579 h 273"/>
              <a:gd name="T18" fmla="*/ 39825811 w 225"/>
              <a:gd name="T19" fmla="*/ 52363869 h 273"/>
              <a:gd name="T20" fmla="*/ 36491571 w 225"/>
              <a:gd name="T21" fmla="*/ 57404199 h 273"/>
              <a:gd name="T22" fmla="*/ 35565369 w 225"/>
              <a:gd name="T23" fmla="*/ 59924099 h 273"/>
              <a:gd name="T24" fmla="*/ 33157331 w 225"/>
              <a:gd name="T25" fmla="*/ 61044349 h 273"/>
              <a:gd name="T26" fmla="*/ 30378726 w 225"/>
              <a:gd name="T27" fmla="*/ 63004389 h 273"/>
              <a:gd name="T28" fmla="*/ 29452525 w 225"/>
              <a:gd name="T29" fmla="*/ 66084679 h 273"/>
              <a:gd name="T30" fmla="*/ 25933216 w 225"/>
              <a:gd name="T31" fmla="*/ 67764789 h 273"/>
              <a:gd name="T32" fmla="*/ 23710246 w 225"/>
              <a:gd name="T33" fmla="*/ 70564619 h 273"/>
              <a:gd name="T34" fmla="*/ 18709102 w 225"/>
              <a:gd name="T35" fmla="*/ 71404939 h 273"/>
              <a:gd name="T36" fmla="*/ 11113990 w 225"/>
              <a:gd name="T37" fmla="*/ 73085049 h 273"/>
              <a:gd name="T38" fmla="*/ 3519308 w 225"/>
              <a:gd name="T39" fmla="*/ 73085049 h 273"/>
              <a:gd name="T40" fmla="*/ 0 w 225"/>
              <a:gd name="T41" fmla="*/ 60764419 h 273"/>
              <a:gd name="T42" fmla="*/ 3889875 w 225"/>
              <a:gd name="T43" fmla="*/ 59364239 h 273"/>
              <a:gd name="T44" fmla="*/ 4816077 w 225"/>
              <a:gd name="T45" fmla="*/ 57404199 h 273"/>
              <a:gd name="T46" fmla="*/ 11113990 w 225"/>
              <a:gd name="T47" fmla="*/ 56563879 h 273"/>
              <a:gd name="T48" fmla="*/ 13336960 w 225"/>
              <a:gd name="T49" fmla="*/ 54043979 h 273"/>
              <a:gd name="T50" fmla="*/ 8891450 w 225"/>
              <a:gd name="T51" fmla="*/ 55443629 h 273"/>
              <a:gd name="T52" fmla="*/ 7409613 w 225"/>
              <a:gd name="T53" fmla="*/ 55163699 h 273"/>
              <a:gd name="T54" fmla="*/ 7224115 w 225"/>
              <a:gd name="T55" fmla="*/ 52643799 h 273"/>
              <a:gd name="T56" fmla="*/ 8520883 w 225"/>
              <a:gd name="T57" fmla="*/ 48443259 h 273"/>
              <a:gd name="T58" fmla="*/ 7224115 w 225"/>
              <a:gd name="T59" fmla="*/ 44803109 h 273"/>
              <a:gd name="T60" fmla="*/ 2593106 w 225"/>
              <a:gd name="T61" fmla="*/ 42002750 h 273"/>
              <a:gd name="T62" fmla="*/ 1111270 w 225"/>
              <a:gd name="T63" fmla="*/ 36402559 h 273"/>
              <a:gd name="T64" fmla="*/ 4075373 w 225"/>
              <a:gd name="T65" fmla="*/ 32202020 h 273"/>
              <a:gd name="T66" fmla="*/ 6483412 w 225"/>
              <a:gd name="T67" fmla="*/ 28561870 h 273"/>
              <a:gd name="T68" fmla="*/ 12596257 w 225"/>
              <a:gd name="T69" fmla="*/ 26321899 h 273"/>
              <a:gd name="T70" fmla="*/ 16671200 w 225"/>
              <a:gd name="T71" fmla="*/ 26321899 h 273"/>
              <a:gd name="T72" fmla="*/ 18523603 w 225"/>
              <a:gd name="T73" fmla="*/ 24641789 h 273"/>
              <a:gd name="T74" fmla="*/ 20005440 w 225"/>
              <a:gd name="T75" fmla="*/ 14561130 h 273"/>
              <a:gd name="T76" fmla="*/ 22228410 w 225"/>
              <a:gd name="T77" fmla="*/ 8680480 h 273"/>
              <a:gd name="T78" fmla="*/ 24080813 w 225"/>
              <a:gd name="T79" fmla="*/ 5600190 h 273"/>
              <a:gd name="T80" fmla="*/ 26118285 w 225"/>
              <a:gd name="T81" fmla="*/ 1960040 h 273"/>
              <a:gd name="T82" fmla="*/ 28711821 w 225"/>
              <a:gd name="T83" fmla="*/ 279930 h 273"/>
              <a:gd name="T84" fmla="*/ 33157331 w 225"/>
              <a:gd name="T85" fmla="*/ 840320 h 273"/>
              <a:gd name="T86" fmla="*/ 36121004 w 225"/>
              <a:gd name="T87" fmla="*/ 10640520 h 273"/>
              <a:gd name="T88" fmla="*/ 36306503 w 225"/>
              <a:gd name="T89" fmla="*/ 13160950 h 273"/>
              <a:gd name="T90" fmla="*/ 35194803 w 225"/>
              <a:gd name="T91" fmla="*/ 15680850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85" name="Freeform 241">
            <a:extLst>
              <a:ext uri="{FF2B5EF4-FFF2-40B4-BE49-F238E27FC236}">
                <a16:creationId xmlns:a16="http://schemas.microsoft.com/office/drawing/2014/main" id="{E2FFFB9C-26F8-4DCB-AA30-5F21E19961FA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228600" y="3260684"/>
            <a:ext cx="640071" cy="339341"/>
          </a:xfrm>
          <a:custGeom>
            <a:avLst/>
            <a:gdLst>
              <a:gd name="T0" fmla="*/ 6202783 w 446"/>
              <a:gd name="T1" fmla="*/ 16889679 h 178"/>
              <a:gd name="T2" fmla="*/ 7479901 w 446"/>
              <a:gd name="T3" fmla="*/ 11628821 h 178"/>
              <a:gd name="T4" fmla="*/ 12405992 w 446"/>
              <a:gd name="T5" fmla="*/ 10244413 h 178"/>
              <a:gd name="T6" fmla="*/ 14595034 w 446"/>
              <a:gd name="T7" fmla="*/ 4983555 h 178"/>
              <a:gd name="T8" fmla="*/ 13135530 w 446"/>
              <a:gd name="T9" fmla="*/ 3876449 h 178"/>
              <a:gd name="T10" fmla="*/ 10946489 w 446"/>
              <a:gd name="T11" fmla="*/ 0 h 178"/>
              <a:gd name="T12" fmla="*/ 15507383 w 446"/>
              <a:gd name="T13" fmla="*/ 2768817 h 178"/>
              <a:gd name="T14" fmla="*/ 19703509 w 446"/>
              <a:gd name="T15" fmla="*/ 10797966 h 178"/>
              <a:gd name="T16" fmla="*/ 22804900 w 446"/>
              <a:gd name="T17" fmla="*/ 17166456 h 178"/>
              <a:gd name="T18" fmla="*/ 25359138 w 446"/>
              <a:gd name="T19" fmla="*/ 18550864 h 178"/>
              <a:gd name="T20" fmla="*/ 28642914 w 446"/>
              <a:gd name="T21" fmla="*/ 17443232 h 178"/>
              <a:gd name="T22" fmla="*/ 33021851 w 446"/>
              <a:gd name="T23" fmla="*/ 12459677 h 178"/>
              <a:gd name="T24" fmla="*/ 37400361 w 446"/>
              <a:gd name="T25" fmla="*/ 6367964 h 178"/>
              <a:gd name="T26" fmla="*/ 40136983 w 446"/>
              <a:gd name="T27" fmla="*/ 8583228 h 178"/>
              <a:gd name="T28" fmla="*/ 65496121 w 446"/>
              <a:gd name="T29" fmla="*/ 3045594 h 178"/>
              <a:gd name="T30" fmla="*/ 68597512 w 446"/>
              <a:gd name="T31" fmla="*/ 6367964 h 178"/>
              <a:gd name="T32" fmla="*/ 72246057 w 446"/>
              <a:gd name="T33" fmla="*/ 6091187 h 178"/>
              <a:gd name="T34" fmla="*/ 75347876 w 446"/>
              <a:gd name="T35" fmla="*/ 10244413 h 178"/>
              <a:gd name="T36" fmla="*/ 75712645 w 446"/>
              <a:gd name="T37" fmla="*/ 11905598 h 178"/>
              <a:gd name="T38" fmla="*/ 78266882 w 446"/>
              <a:gd name="T39" fmla="*/ 14951191 h 178"/>
              <a:gd name="T40" fmla="*/ 80821120 w 446"/>
              <a:gd name="T41" fmla="*/ 18827641 h 178"/>
              <a:gd name="T42" fmla="*/ 81368274 w 446"/>
              <a:gd name="T43" fmla="*/ 22150011 h 178"/>
              <a:gd name="T44" fmla="*/ 79908770 w 446"/>
              <a:gd name="T45" fmla="*/ 26580013 h 178"/>
              <a:gd name="T46" fmla="*/ 75347876 w 446"/>
              <a:gd name="T47" fmla="*/ 30733238 h 178"/>
              <a:gd name="T48" fmla="*/ 72428869 w 446"/>
              <a:gd name="T49" fmla="*/ 33225279 h 178"/>
              <a:gd name="T50" fmla="*/ 66773240 w 446"/>
              <a:gd name="T51" fmla="*/ 34055608 h 178"/>
              <a:gd name="T52" fmla="*/ 54732017 w 446"/>
              <a:gd name="T53" fmla="*/ 40424098 h 178"/>
              <a:gd name="T54" fmla="*/ 42690794 w 446"/>
              <a:gd name="T55" fmla="*/ 47346141 h 178"/>
              <a:gd name="T56" fmla="*/ 36305627 w 446"/>
              <a:gd name="T57" fmla="*/ 49284102 h 178"/>
              <a:gd name="T58" fmla="*/ 32291886 w 446"/>
              <a:gd name="T59" fmla="*/ 48176470 h 178"/>
              <a:gd name="T60" fmla="*/ 31379536 w 446"/>
              <a:gd name="T61" fmla="*/ 45407653 h 178"/>
              <a:gd name="T62" fmla="*/ 31014767 w 446"/>
              <a:gd name="T63" fmla="*/ 44577324 h 178"/>
              <a:gd name="T64" fmla="*/ 28460529 w 446"/>
              <a:gd name="T65" fmla="*/ 44577324 h 178"/>
              <a:gd name="T66" fmla="*/ 25359138 w 446"/>
              <a:gd name="T67" fmla="*/ 44300547 h 178"/>
              <a:gd name="T68" fmla="*/ 18244006 w 446"/>
              <a:gd name="T69" fmla="*/ 40700875 h 178"/>
              <a:gd name="T70" fmla="*/ 15507383 w 446"/>
              <a:gd name="T71" fmla="*/ 37932058 h 178"/>
              <a:gd name="T72" fmla="*/ 14777845 w 446"/>
              <a:gd name="T73" fmla="*/ 34609688 h 178"/>
              <a:gd name="T74" fmla="*/ 15872152 w 446"/>
              <a:gd name="T75" fmla="*/ 30733238 h 178"/>
              <a:gd name="T76" fmla="*/ 4926091 w 446"/>
              <a:gd name="T77" fmla="*/ 28518500 h 178"/>
              <a:gd name="T78" fmla="*/ 1641888 w 446"/>
              <a:gd name="T79" fmla="*/ 29072053 h 178"/>
              <a:gd name="T80" fmla="*/ 0 w 446"/>
              <a:gd name="T81" fmla="*/ 22150011 h 178"/>
              <a:gd name="T82" fmla="*/ 10946489 w 446"/>
              <a:gd name="T83" fmla="*/ 23811196 h 178"/>
              <a:gd name="T84" fmla="*/ 15872152 w 446"/>
              <a:gd name="T85" fmla="*/ 22150011 h 178"/>
              <a:gd name="T86" fmla="*/ 4196126 w 446"/>
              <a:gd name="T87" fmla="*/ 18827641 h 178"/>
              <a:gd name="T88" fmla="*/ 2919007 w 446"/>
              <a:gd name="T89" fmla="*/ 15228494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86" name="Freeform 242">
            <a:extLst>
              <a:ext uri="{FF2B5EF4-FFF2-40B4-BE49-F238E27FC236}">
                <a16:creationId xmlns:a16="http://schemas.microsoft.com/office/drawing/2014/main" id="{ECC6AAD5-4AD7-4E2D-BA3D-C0D79F9CCA53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877530" y="4253547"/>
            <a:ext cx="48008" cy="207057"/>
          </a:xfrm>
          <a:custGeom>
            <a:avLst/>
            <a:gdLst>
              <a:gd name="T0" fmla="*/ 0 w 28"/>
              <a:gd name="T1" fmla="*/ 44741404 h 73"/>
              <a:gd name="T2" fmla="*/ 521002 w 28"/>
              <a:gd name="T3" fmla="*/ 28805949 h 73"/>
              <a:gd name="T4" fmla="*/ 1562495 w 28"/>
              <a:gd name="T5" fmla="*/ 17161440 h 73"/>
              <a:gd name="T6" fmla="*/ 1822741 w 28"/>
              <a:gd name="T7" fmla="*/ 12258284 h 73"/>
              <a:gd name="T8" fmla="*/ 1562495 w 28"/>
              <a:gd name="T9" fmla="*/ 7967336 h 73"/>
              <a:gd name="T10" fmla="*/ 1041493 w 28"/>
              <a:gd name="T11" fmla="*/ 4290164 h 73"/>
              <a:gd name="T12" fmla="*/ 0 w 28"/>
              <a:gd name="T13" fmla="*/ 0 h 73"/>
              <a:gd name="T14" fmla="*/ 7290962 w 28"/>
              <a:gd name="T15" fmla="*/ 0 h 73"/>
              <a:gd name="T16" fmla="*/ 5728467 w 28"/>
              <a:gd name="T17" fmla="*/ 9806314 h 73"/>
              <a:gd name="T18" fmla="*/ 4426729 w 28"/>
              <a:gd name="T19" fmla="*/ 18386642 h 73"/>
              <a:gd name="T20" fmla="*/ 3124479 w 28"/>
              <a:gd name="T21" fmla="*/ 26354762 h 73"/>
              <a:gd name="T22" fmla="*/ 1822741 w 28"/>
              <a:gd name="T23" fmla="*/ 33709105 h 73"/>
              <a:gd name="T24" fmla="*/ 0 w 28"/>
              <a:gd name="T25" fmla="*/ 44741404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2700"/>
          </a:p>
        </p:txBody>
      </p:sp>
      <p:sp>
        <p:nvSpPr>
          <p:cNvPr id="87" name="Freeform 243">
            <a:extLst>
              <a:ext uri="{FF2B5EF4-FFF2-40B4-BE49-F238E27FC236}">
                <a16:creationId xmlns:a16="http://schemas.microsoft.com/office/drawing/2014/main" id="{19973394-C140-4B49-9756-EAE9CD98870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498822" y="3034212"/>
            <a:ext cx="789422" cy="1432146"/>
          </a:xfrm>
          <a:custGeom>
            <a:avLst/>
            <a:gdLst>
              <a:gd name="T0" fmla="*/ 82030735 w 531"/>
              <a:gd name="T1" fmla="*/ 55351668 h 757"/>
              <a:gd name="T2" fmla="*/ 79485665 w 531"/>
              <a:gd name="T3" fmla="*/ 60259597 h 757"/>
              <a:gd name="T4" fmla="*/ 79094081 w 531"/>
              <a:gd name="T5" fmla="*/ 64622375 h 757"/>
              <a:gd name="T6" fmla="*/ 74786665 w 531"/>
              <a:gd name="T7" fmla="*/ 74983385 h 757"/>
              <a:gd name="T8" fmla="*/ 63627646 w 531"/>
              <a:gd name="T9" fmla="*/ 83436365 h 757"/>
              <a:gd name="T10" fmla="*/ 49335960 w 531"/>
              <a:gd name="T11" fmla="*/ 96524177 h 757"/>
              <a:gd name="T12" fmla="*/ 46399306 w 531"/>
              <a:gd name="T13" fmla="*/ 100614379 h 757"/>
              <a:gd name="T14" fmla="*/ 47965197 w 531"/>
              <a:gd name="T15" fmla="*/ 103886332 h 757"/>
              <a:gd name="T16" fmla="*/ 46986460 w 531"/>
              <a:gd name="T17" fmla="*/ 115610743 h 757"/>
              <a:gd name="T18" fmla="*/ 46790890 w 531"/>
              <a:gd name="T19" fmla="*/ 122427747 h 757"/>
              <a:gd name="T20" fmla="*/ 51293434 w 531"/>
              <a:gd name="T21" fmla="*/ 127608252 h 757"/>
              <a:gd name="T22" fmla="*/ 62648466 w 531"/>
              <a:gd name="T23" fmla="*/ 132243605 h 757"/>
              <a:gd name="T24" fmla="*/ 64997966 w 531"/>
              <a:gd name="T25" fmla="*/ 137697208 h 757"/>
              <a:gd name="T26" fmla="*/ 60690992 w 531"/>
              <a:gd name="T27" fmla="*/ 144786265 h 757"/>
              <a:gd name="T28" fmla="*/ 53251351 w 531"/>
              <a:gd name="T29" fmla="*/ 149149043 h 757"/>
              <a:gd name="T30" fmla="*/ 51881031 w 531"/>
              <a:gd name="T31" fmla="*/ 152693572 h 757"/>
              <a:gd name="T32" fmla="*/ 49335960 w 531"/>
              <a:gd name="T33" fmla="*/ 172053236 h 757"/>
              <a:gd name="T34" fmla="*/ 46790890 w 531"/>
              <a:gd name="T35" fmla="*/ 196593405 h 757"/>
              <a:gd name="T36" fmla="*/ 33869525 w 531"/>
              <a:gd name="T37" fmla="*/ 198229381 h 757"/>
              <a:gd name="T38" fmla="*/ 29758121 w 531"/>
              <a:gd name="T39" fmla="*/ 201228758 h 757"/>
              <a:gd name="T40" fmla="*/ 29953691 w 531"/>
              <a:gd name="T41" fmla="*/ 206409263 h 757"/>
              <a:gd name="T42" fmla="*/ 20752589 w 531"/>
              <a:gd name="T43" fmla="*/ 206409263 h 757"/>
              <a:gd name="T44" fmla="*/ 18598660 w 531"/>
              <a:gd name="T45" fmla="*/ 205045863 h 757"/>
              <a:gd name="T46" fmla="*/ 13900102 w 531"/>
              <a:gd name="T47" fmla="*/ 195775155 h 757"/>
              <a:gd name="T48" fmla="*/ 8026795 w 531"/>
              <a:gd name="T49" fmla="*/ 174506939 h 757"/>
              <a:gd name="T50" fmla="*/ 6656474 w 531"/>
              <a:gd name="T51" fmla="*/ 162782529 h 757"/>
              <a:gd name="T52" fmla="*/ 2741083 w 531"/>
              <a:gd name="T53" fmla="*/ 159783151 h 757"/>
              <a:gd name="T54" fmla="*/ 3719820 w 531"/>
              <a:gd name="T55" fmla="*/ 152966670 h 757"/>
              <a:gd name="T56" fmla="*/ 7048058 w 531"/>
              <a:gd name="T57" fmla="*/ 146695340 h 757"/>
              <a:gd name="T58" fmla="*/ 10376295 w 531"/>
              <a:gd name="T59" fmla="*/ 137424632 h 757"/>
              <a:gd name="T60" fmla="*/ 11942185 w 531"/>
              <a:gd name="T61" fmla="*/ 128426501 h 757"/>
              <a:gd name="T62" fmla="*/ 12529782 w 531"/>
              <a:gd name="T63" fmla="*/ 120246097 h 757"/>
              <a:gd name="T64" fmla="*/ 11355032 w 531"/>
              <a:gd name="T65" fmla="*/ 111248487 h 757"/>
              <a:gd name="T66" fmla="*/ 8418378 w 531"/>
              <a:gd name="T67" fmla="*/ 102795507 h 757"/>
              <a:gd name="T68" fmla="*/ 14487698 w 531"/>
              <a:gd name="T69" fmla="*/ 75255961 h 757"/>
              <a:gd name="T70" fmla="*/ 20164993 w 531"/>
              <a:gd name="T71" fmla="*/ 74983385 h 757"/>
              <a:gd name="T72" fmla="*/ 22122910 w 531"/>
              <a:gd name="T73" fmla="*/ 63804126 h 757"/>
              <a:gd name="T74" fmla="*/ 26821467 w 531"/>
              <a:gd name="T75" fmla="*/ 52352291 h 757"/>
              <a:gd name="T76" fmla="*/ 35239845 w 531"/>
              <a:gd name="T77" fmla="*/ 39536533 h 757"/>
              <a:gd name="T78" fmla="*/ 38763653 w 531"/>
              <a:gd name="T79" fmla="*/ 30266348 h 757"/>
              <a:gd name="T80" fmla="*/ 44636960 w 531"/>
              <a:gd name="T81" fmla="*/ 16360287 h 757"/>
              <a:gd name="T82" fmla="*/ 48748364 w 531"/>
              <a:gd name="T83" fmla="*/ 11724933 h 757"/>
              <a:gd name="T84" fmla="*/ 60494979 w 531"/>
              <a:gd name="T85" fmla="*/ 7907307 h 757"/>
              <a:gd name="T86" fmla="*/ 72046024 w 531"/>
              <a:gd name="T87" fmla="*/ 3544529 h 757"/>
              <a:gd name="T88" fmla="*/ 78506485 w 531"/>
              <a:gd name="T89" fmla="*/ 1363401 h 757"/>
              <a:gd name="T90" fmla="*/ 84379793 w 531"/>
              <a:gd name="T91" fmla="*/ 8725556 h 757"/>
              <a:gd name="T92" fmla="*/ 89469933 w 531"/>
              <a:gd name="T93" fmla="*/ 11451835 h 757"/>
              <a:gd name="T94" fmla="*/ 100433824 w 531"/>
              <a:gd name="T95" fmla="*/ 30266348 h 757"/>
              <a:gd name="T96" fmla="*/ 103370478 w 531"/>
              <a:gd name="T97" fmla="*/ 40899933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88" name="Freeform 244">
            <a:extLst>
              <a:ext uri="{FF2B5EF4-FFF2-40B4-BE49-F238E27FC236}">
                <a16:creationId xmlns:a16="http://schemas.microsoft.com/office/drawing/2014/main" id="{A4E3F5B1-182F-44A3-8576-272EFCC25A24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2962871" y="4173023"/>
            <a:ext cx="90678" cy="207057"/>
          </a:xfrm>
          <a:custGeom>
            <a:avLst/>
            <a:gdLst>
              <a:gd name="T0" fmla="*/ 0 w 60"/>
              <a:gd name="T1" fmla="*/ 46461829 h 51"/>
              <a:gd name="T2" fmla="*/ 1214010 w 60"/>
              <a:gd name="T3" fmla="*/ 37671935 h 51"/>
              <a:gd name="T4" fmla="*/ 3034801 w 60"/>
              <a:gd name="T5" fmla="*/ 23858444 h 51"/>
              <a:gd name="T6" fmla="*/ 4046401 w 60"/>
              <a:gd name="T7" fmla="*/ 16324729 h 51"/>
              <a:gd name="T8" fmla="*/ 5462821 w 60"/>
              <a:gd name="T9" fmla="*/ 10046074 h 51"/>
              <a:gd name="T10" fmla="*/ 6676381 w 60"/>
              <a:gd name="T11" fmla="*/ 5022476 h 51"/>
              <a:gd name="T12" fmla="*/ 8092802 w 60"/>
              <a:gd name="T13" fmla="*/ 0 h 51"/>
              <a:gd name="T14" fmla="*/ 10116002 w 60"/>
              <a:gd name="T15" fmla="*/ 8789894 h 51"/>
              <a:gd name="T16" fmla="*/ 12139202 w 60"/>
              <a:gd name="T17" fmla="*/ 16324729 h 51"/>
              <a:gd name="T18" fmla="*/ 11936792 w 60"/>
              <a:gd name="T19" fmla="*/ 25114624 h 51"/>
              <a:gd name="T20" fmla="*/ 11330012 w 60"/>
              <a:gd name="T21" fmla="*/ 36415756 h 51"/>
              <a:gd name="T22" fmla="*/ 10925192 w 60"/>
              <a:gd name="T23" fmla="*/ 42694412 h 51"/>
              <a:gd name="T24" fmla="*/ 10520822 w 60"/>
              <a:gd name="T25" fmla="*/ 47716888 h 51"/>
              <a:gd name="T26" fmla="*/ 9913592 w 60"/>
              <a:gd name="T27" fmla="*/ 52740485 h 51"/>
              <a:gd name="T28" fmla="*/ 9104402 w 60"/>
              <a:gd name="T29" fmla="*/ 56506782 h 51"/>
              <a:gd name="T30" fmla="*/ 8295212 w 60"/>
              <a:gd name="T31" fmla="*/ 60274200 h 51"/>
              <a:gd name="T32" fmla="*/ 7486021 w 60"/>
              <a:gd name="T33" fmla="*/ 62785438 h 51"/>
              <a:gd name="T34" fmla="*/ 6272011 w 60"/>
              <a:gd name="T35" fmla="*/ 64041618 h 51"/>
              <a:gd name="T36" fmla="*/ 5462821 w 60"/>
              <a:gd name="T37" fmla="*/ 64041618 h 51"/>
              <a:gd name="T38" fmla="*/ 4046401 w 60"/>
              <a:gd name="T39" fmla="*/ 62785438 h 51"/>
              <a:gd name="T40" fmla="*/ 3034801 w 60"/>
              <a:gd name="T41" fmla="*/ 59019141 h 51"/>
              <a:gd name="T42" fmla="*/ 1416420 w 60"/>
              <a:gd name="T43" fmla="*/ 53995544 h 51"/>
              <a:gd name="T44" fmla="*/ 0 w 60"/>
              <a:gd name="T45" fmla="*/ 46461829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89" name="Freeform 245">
            <a:extLst>
              <a:ext uri="{FF2B5EF4-FFF2-40B4-BE49-F238E27FC236}">
                <a16:creationId xmlns:a16="http://schemas.microsoft.com/office/drawing/2014/main" id="{92DEAB44-BDE6-4AF2-836A-5F2F5DB12DC5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1096000" y="4759688"/>
            <a:ext cx="96011" cy="207057"/>
          </a:xfrm>
          <a:custGeom>
            <a:avLst/>
            <a:gdLst>
              <a:gd name="T0" fmla="*/ 11059391 w 66"/>
              <a:gd name="T1" fmla="*/ 60274200 h 51"/>
              <a:gd name="T2" fmla="*/ 7872845 w 66"/>
              <a:gd name="T3" fmla="*/ 62785438 h 51"/>
              <a:gd name="T4" fmla="*/ 4123892 w 66"/>
              <a:gd name="T5" fmla="*/ 64041618 h 51"/>
              <a:gd name="T6" fmla="*/ 3186545 w 66"/>
              <a:gd name="T7" fmla="*/ 62785438 h 51"/>
              <a:gd name="T8" fmla="*/ 2436668 w 66"/>
              <a:gd name="T9" fmla="*/ 61530379 h 51"/>
              <a:gd name="T10" fmla="*/ 1874693 w 66"/>
              <a:gd name="T11" fmla="*/ 60274200 h 51"/>
              <a:gd name="T12" fmla="*/ 1312285 w 66"/>
              <a:gd name="T13" fmla="*/ 57762962 h 51"/>
              <a:gd name="T14" fmla="*/ 562408 w 66"/>
              <a:gd name="T15" fmla="*/ 53995544 h 51"/>
              <a:gd name="T16" fmla="*/ 187469 w 66"/>
              <a:gd name="T17" fmla="*/ 50229247 h 51"/>
              <a:gd name="T18" fmla="*/ 0 w 66"/>
              <a:gd name="T19" fmla="*/ 43950591 h 51"/>
              <a:gd name="T20" fmla="*/ 0 w 66"/>
              <a:gd name="T21" fmla="*/ 37671935 h 51"/>
              <a:gd name="T22" fmla="*/ 749877 w 66"/>
              <a:gd name="T23" fmla="*/ 36415756 h 51"/>
              <a:gd name="T24" fmla="*/ 1874693 w 66"/>
              <a:gd name="T25" fmla="*/ 33904518 h 51"/>
              <a:gd name="T26" fmla="*/ 2624138 w 66"/>
              <a:gd name="T27" fmla="*/ 30137100 h 51"/>
              <a:gd name="T28" fmla="*/ 3561484 w 66"/>
              <a:gd name="T29" fmla="*/ 25114624 h 51"/>
              <a:gd name="T30" fmla="*/ 4873769 w 66"/>
              <a:gd name="T31" fmla="*/ 12557312 h 51"/>
              <a:gd name="T32" fmla="*/ 6186055 w 66"/>
              <a:gd name="T33" fmla="*/ 0 h 51"/>
              <a:gd name="T34" fmla="*/ 8622723 w 66"/>
              <a:gd name="T35" fmla="*/ 1256179 h 51"/>
              <a:gd name="T36" fmla="*/ 9747539 w 66"/>
              <a:gd name="T37" fmla="*/ 2511238 h 51"/>
              <a:gd name="T38" fmla="*/ 10496983 w 66"/>
              <a:gd name="T39" fmla="*/ 3767418 h 51"/>
              <a:gd name="T40" fmla="*/ 12371676 w 66"/>
              <a:gd name="T41" fmla="*/ 0 h 51"/>
              <a:gd name="T42" fmla="*/ 12184207 w 66"/>
              <a:gd name="T43" fmla="*/ 16324729 h 51"/>
              <a:gd name="T44" fmla="*/ 11809268 w 66"/>
              <a:gd name="T45" fmla="*/ 30137100 h 51"/>
              <a:gd name="T46" fmla="*/ 11246860 w 66"/>
              <a:gd name="T47" fmla="*/ 45205650 h 51"/>
              <a:gd name="T48" fmla="*/ 11059391 w 66"/>
              <a:gd name="T49" fmla="*/ 60274200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90" name="Freeform 256">
            <a:extLst>
              <a:ext uri="{FF2B5EF4-FFF2-40B4-BE49-F238E27FC236}">
                <a16:creationId xmlns:a16="http://schemas.microsoft.com/office/drawing/2014/main" id="{A8FC85A9-C385-4DEB-8CC3-111E78A5AA94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5247827" y="6202414"/>
            <a:ext cx="1690859" cy="1713977"/>
          </a:xfrm>
          <a:custGeom>
            <a:avLst/>
            <a:gdLst>
              <a:gd name="T0" fmla="*/ 175864703 w 1156"/>
              <a:gd name="T1" fmla="*/ 52772568 h 900"/>
              <a:gd name="T2" fmla="*/ 162788786 w 1156"/>
              <a:gd name="T3" fmla="*/ 44760254 h 900"/>
              <a:gd name="T4" fmla="*/ 146491015 w 1156"/>
              <a:gd name="T5" fmla="*/ 30668927 h 900"/>
              <a:gd name="T6" fmla="*/ 116927523 w 1156"/>
              <a:gd name="T7" fmla="*/ 28734576 h 900"/>
              <a:gd name="T8" fmla="*/ 104419708 w 1156"/>
              <a:gd name="T9" fmla="*/ 42549417 h 900"/>
              <a:gd name="T10" fmla="*/ 95512918 w 1156"/>
              <a:gd name="T11" fmla="*/ 49456837 h 900"/>
              <a:gd name="T12" fmla="*/ 80730955 w 1156"/>
              <a:gd name="T13" fmla="*/ 54430433 h 900"/>
              <a:gd name="T14" fmla="*/ 72582069 w 1156"/>
              <a:gd name="T15" fmla="*/ 54982879 h 900"/>
              <a:gd name="T16" fmla="*/ 67275868 w 1156"/>
              <a:gd name="T17" fmla="*/ 47799498 h 900"/>
              <a:gd name="T18" fmla="*/ 49272485 w 1156"/>
              <a:gd name="T19" fmla="*/ 37576347 h 900"/>
              <a:gd name="T20" fmla="*/ 43208380 w 1156"/>
              <a:gd name="T21" fmla="*/ 23761506 h 900"/>
              <a:gd name="T22" fmla="*/ 41692136 w 1156"/>
              <a:gd name="T23" fmla="*/ 6354974 h 900"/>
              <a:gd name="T24" fmla="*/ 35627596 w 1156"/>
              <a:gd name="T25" fmla="*/ 276486 h 900"/>
              <a:gd name="T26" fmla="*/ 29374124 w 1156"/>
              <a:gd name="T27" fmla="*/ 5802002 h 900"/>
              <a:gd name="T28" fmla="*/ 25773099 w 1156"/>
              <a:gd name="T29" fmla="*/ 18511950 h 900"/>
              <a:gd name="T30" fmla="*/ 14971331 w 1156"/>
              <a:gd name="T31" fmla="*/ 14920260 h 900"/>
              <a:gd name="T32" fmla="*/ 757904 w 1156"/>
              <a:gd name="T33" fmla="*/ 4420623 h 900"/>
              <a:gd name="T34" fmla="*/ 947707 w 1156"/>
              <a:gd name="T35" fmla="*/ 19893329 h 900"/>
              <a:gd name="T36" fmla="*/ 8528056 w 1156"/>
              <a:gd name="T37" fmla="*/ 40339105 h 900"/>
              <a:gd name="T38" fmla="*/ 13834256 w 1156"/>
              <a:gd name="T39" fmla="*/ 56640744 h 900"/>
              <a:gd name="T40" fmla="*/ 25583732 w 1156"/>
              <a:gd name="T41" fmla="*/ 78467899 h 900"/>
              <a:gd name="T42" fmla="*/ 23120216 w 1156"/>
              <a:gd name="T43" fmla="*/ 87309671 h 900"/>
              <a:gd name="T44" fmla="*/ 25204562 w 1156"/>
              <a:gd name="T45" fmla="*/ 102229405 h 900"/>
              <a:gd name="T46" fmla="*/ 35627596 w 1156"/>
              <a:gd name="T47" fmla="*/ 118254558 h 900"/>
              <a:gd name="T48" fmla="*/ 49083118 w 1156"/>
              <a:gd name="T49" fmla="*/ 125990911 h 900"/>
              <a:gd name="T50" fmla="*/ 49083118 w 1156"/>
              <a:gd name="T51" fmla="*/ 144779347 h 900"/>
              <a:gd name="T52" fmla="*/ 63485912 w 1156"/>
              <a:gd name="T53" fmla="*/ 160528014 h 900"/>
              <a:gd name="T54" fmla="*/ 80162418 w 1156"/>
              <a:gd name="T55" fmla="*/ 183460588 h 900"/>
              <a:gd name="T56" fmla="*/ 89259011 w 1156"/>
              <a:gd name="T57" fmla="*/ 198933294 h 900"/>
              <a:gd name="T58" fmla="*/ 95512918 w 1156"/>
              <a:gd name="T59" fmla="*/ 202524984 h 900"/>
              <a:gd name="T60" fmla="*/ 102714097 w 1156"/>
              <a:gd name="T61" fmla="*/ 208603473 h 900"/>
              <a:gd name="T62" fmla="*/ 113326934 w 1156"/>
              <a:gd name="T63" fmla="*/ 217445244 h 900"/>
              <a:gd name="T64" fmla="*/ 129814073 w 1156"/>
              <a:gd name="T65" fmla="*/ 219655556 h 900"/>
              <a:gd name="T66" fmla="*/ 138720863 w 1156"/>
              <a:gd name="T67" fmla="*/ 215510893 h 900"/>
              <a:gd name="T68" fmla="*/ 147628089 w 1156"/>
              <a:gd name="T69" fmla="*/ 211090270 h 900"/>
              <a:gd name="T70" fmla="*/ 151797215 w 1156"/>
              <a:gd name="T71" fmla="*/ 219932042 h 900"/>
              <a:gd name="T72" fmla="*/ 154071363 w 1156"/>
              <a:gd name="T73" fmla="*/ 236786127 h 900"/>
              <a:gd name="T74" fmla="*/ 165631472 w 1156"/>
              <a:gd name="T75" fmla="*/ 241482711 h 900"/>
              <a:gd name="T76" fmla="*/ 191594373 w 1156"/>
              <a:gd name="T77" fmla="*/ 246456306 h 900"/>
              <a:gd name="T78" fmla="*/ 206755071 w 1156"/>
              <a:gd name="T79" fmla="*/ 242864615 h 900"/>
              <a:gd name="T80" fmla="*/ 208270880 w 1156"/>
              <a:gd name="T81" fmla="*/ 229602221 h 900"/>
              <a:gd name="T82" fmla="*/ 219073084 w 1156"/>
              <a:gd name="T83" fmla="*/ 212748135 h 900"/>
              <a:gd name="T84" fmla="*/ 214524787 w 1156"/>
              <a:gd name="T85" fmla="*/ 207222094 h 900"/>
              <a:gd name="T86" fmla="*/ 207702343 w 1156"/>
              <a:gd name="T87" fmla="*/ 195617564 h 900"/>
              <a:gd name="T88" fmla="*/ 195384330 w 1156"/>
              <a:gd name="T89" fmla="*/ 177658586 h 900"/>
              <a:gd name="T90" fmla="*/ 192920815 w 1156"/>
              <a:gd name="T91" fmla="*/ 166606502 h 900"/>
              <a:gd name="T92" fmla="*/ 197847846 w 1156"/>
              <a:gd name="T93" fmla="*/ 154449526 h 900"/>
              <a:gd name="T94" fmla="*/ 198606185 w 1156"/>
              <a:gd name="T95" fmla="*/ 145331794 h 900"/>
              <a:gd name="T96" fmla="*/ 195194963 w 1156"/>
              <a:gd name="T97" fmla="*/ 141463617 h 900"/>
              <a:gd name="T98" fmla="*/ 186287737 w 1156"/>
              <a:gd name="T99" fmla="*/ 140082238 h 900"/>
              <a:gd name="T100" fmla="*/ 180792169 w 1156"/>
              <a:gd name="T101" fmla="*/ 125161978 h 900"/>
              <a:gd name="T102" fmla="*/ 177570314 w 1156"/>
              <a:gd name="T103" fmla="*/ 103058337 h 900"/>
              <a:gd name="T104" fmla="*/ 175106799 w 1156"/>
              <a:gd name="T105" fmla="*/ 98637714 h 900"/>
              <a:gd name="T106" fmla="*/ 178138851 w 1156"/>
              <a:gd name="T107" fmla="*/ 92282740 h 900"/>
              <a:gd name="T108" fmla="*/ 181929244 w 1156"/>
              <a:gd name="T109" fmla="*/ 8095469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91" name="Freeform 260">
            <a:extLst>
              <a:ext uri="{FF2B5EF4-FFF2-40B4-BE49-F238E27FC236}">
                <a16:creationId xmlns:a16="http://schemas.microsoft.com/office/drawing/2014/main" id="{46E12B9D-ECFB-43FE-8935-F1AFC815D4A7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6613313" y="6309027"/>
            <a:ext cx="1114793" cy="1052541"/>
          </a:xfrm>
          <a:custGeom>
            <a:avLst/>
            <a:gdLst>
              <a:gd name="T0" fmla="*/ 11692921 w 764"/>
              <a:gd name="T1" fmla="*/ 53702844 h 555"/>
              <a:gd name="T2" fmla="*/ 17539599 w 764"/>
              <a:gd name="T3" fmla="*/ 52059227 h 555"/>
              <a:gd name="T4" fmla="*/ 24140617 w 764"/>
              <a:gd name="T5" fmla="*/ 49867039 h 555"/>
              <a:gd name="T6" fmla="*/ 33004655 w 764"/>
              <a:gd name="T7" fmla="*/ 41373096 h 555"/>
              <a:gd name="T8" fmla="*/ 36587878 w 764"/>
              <a:gd name="T9" fmla="*/ 34523295 h 555"/>
              <a:gd name="T10" fmla="*/ 37530695 w 764"/>
              <a:gd name="T11" fmla="*/ 24111449 h 555"/>
              <a:gd name="T12" fmla="*/ 39228285 w 764"/>
              <a:gd name="T13" fmla="*/ 18905788 h 555"/>
              <a:gd name="T14" fmla="*/ 45263440 w 764"/>
              <a:gd name="T15" fmla="*/ 16439839 h 555"/>
              <a:gd name="T16" fmla="*/ 55447681 w 764"/>
              <a:gd name="T17" fmla="*/ 16987885 h 555"/>
              <a:gd name="T18" fmla="*/ 62048264 w 764"/>
              <a:gd name="T19" fmla="*/ 19453835 h 555"/>
              <a:gd name="T20" fmla="*/ 68271895 w 764"/>
              <a:gd name="T21" fmla="*/ 24659496 h 555"/>
              <a:gd name="T22" fmla="*/ 72798369 w 764"/>
              <a:gd name="T23" fmla="*/ 25481305 h 555"/>
              <a:gd name="T24" fmla="*/ 79022000 w 764"/>
              <a:gd name="T25" fmla="*/ 23015355 h 555"/>
              <a:gd name="T26" fmla="*/ 86754745 w 764"/>
              <a:gd name="T27" fmla="*/ 16713600 h 555"/>
              <a:gd name="T28" fmla="*/ 90337969 w 764"/>
              <a:gd name="T29" fmla="*/ 9041990 h 555"/>
              <a:gd name="T30" fmla="*/ 95807259 w 764"/>
              <a:gd name="T31" fmla="*/ 1096094 h 555"/>
              <a:gd name="T32" fmla="*/ 99956346 w 764"/>
              <a:gd name="T33" fmla="*/ 5205661 h 555"/>
              <a:gd name="T34" fmla="*/ 103728481 w 764"/>
              <a:gd name="T35" fmla="*/ 12329748 h 555"/>
              <a:gd name="T36" fmla="*/ 105803024 w 764"/>
              <a:gd name="T37" fmla="*/ 23837687 h 555"/>
              <a:gd name="T38" fmla="*/ 107500181 w 764"/>
              <a:gd name="T39" fmla="*/ 27673493 h 555"/>
              <a:gd name="T40" fmla="*/ 111083404 w 764"/>
              <a:gd name="T41" fmla="*/ 28495301 h 555"/>
              <a:gd name="T42" fmla="*/ 117307469 w 764"/>
              <a:gd name="T43" fmla="*/ 20001359 h 555"/>
              <a:gd name="T44" fmla="*/ 140127448 w 764"/>
              <a:gd name="T45" fmla="*/ 18083456 h 555"/>
              <a:gd name="T46" fmla="*/ 143145242 w 764"/>
              <a:gd name="T47" fmla="*/ 23837687 h 555"/>
              <a:gd name="T48" fmla="*/ 128057140 w 764"/>
              <a:gd name="T49" fmla="*/ 27399731 h 555"/>
              <a:gd name="T50" fmla="*/ 114101198 w 764"/>
              <a:gd name="T51" fmla="*/ 30687489 h 555"/>
              <a:gd name="T52" fmla="*/ 108254521 w 764"/>
              <a:gd name="T53" fmla="*/ 35619388 h 555"/>
              <a:gd name="T54" fmla="*/ 107688657 w 764"/>
              <a:gd name="T55" fmla="*/ 40277002 h 555"/>
              <a:gd name="T56" fmla="*/ 109763201 w 764"/>
              <a:gd name="T57" fmla="*/ 44935140 h 555"/>
              <a:gd name="T58" fmla="*/ 113346858 w 764"/>
              <a:gd name="T59" fmla="*/ 49318992 h 555"/>
              <a:gd name="T60" fmla="*/ 113912722 w 764"/>
              <a:gd name="T61" fmla="*/ 53429083 h 555"/>
              <a:gd name="T62" fmla="*/ 112026655 w 764"/>
              <a:gd name="T63" fmla="*/ 58360982 h 555"/>
              <a:gd name="T64" fmla="*/ 108254521 w 764"/>
              <a:gd name="T65" fmla="*/ 64936499 h 555"/>
              <a:gd name="T66" fmla="*/ 106557364 w 764"/>
              <a:gd name="T67" fmla="*/ 69868398 h 555"/>
              <a:gd name="T68" fmla="*/ 102219366 w 764"/>
              <a:gd name="T69" fmla="*/ 73704726 h 555"/>
              <a:gd name="T70" fmla="*/ 97881803 w 764"/>
              <a:gd name="T71" fmla="*/ 84938381 h 555"/>
              <a:gd name="T72" fmla="*/ 95807259 w 764"/>
              <a:gd name="T73" fmla="*/ 99460316 h 555"/>
              <a:gd name="T74" fmla="*/ 93732716 w 764"/>
              <a:gd name="T75" fmla="*/ 116447679 h 555"/>
              <a:gd name="T76" fmla="*/ 89960581 w 764"/>
              <a:gd name="T77" fmla="*/ 112885635 h 555"/>
              <a:gd name="T78" fmla="*/ 86754745 w 764"/>
              <a:gd name="T79" fmla="*/ 111515779 h 555"/>
              <a:gd name="T80" fmla="*/ 82794134 w 764"/>
              <a:gd name="T81" fmla="*/ 114529776 h 555"/>
              <a:gd name="T82" fmla="*/ 77513320 w 764"/>
              <a:gd name="T83" fmla="*/ 120557769 h 555"/>
              <a:gd name="T84" fmla="*/ 74118573 w 764"/>
              <a:gd name="T85" fmla="*/ 121653863 h 555"/>
              <a:gd name="T86" fmla="*/ 70723826 w 764"/>
              <a:gd name="T87" fmla="*/ 126859524 h 555"/>
              <a:gd name="T88" fmla="*/ 68837759 w 764"/>
              <a:gd name="T89" fmla="*/ 140011081 h 555"/>
              <a:gd name="T90" fmla="*/ 66008875 w 764"/>
              <a:gd name="T91" fmla="*/ 143847409 h 555"/>
              <a:gd name="T92" fmla="*/ 50921207 w 764"/>
              <a:gd name="T93" fmla="*/ 149601117 h 555"/>
              <a:gd name="T94" fmla="*/ 36587878 w 764"/>
              <a:gd name="T95" fmla="*/ 151793305 h 555"/>
              <a:gd name="T96" fmla="*/ 21311299 w 764"/>
              <a:gd name="T97" fmla="*/ 148505023 h 555"/>
              <a:gd name="T98" fmla="*/ 17916552 w 764"/>
              <a:gd name="T99" fmla="*/ 141929507 h 555"/>
              <a:gd name="T100" fmla="*/ 21688686 w 764"/>
              <a:gd name="T101" fmla="*/ 133709326 h 555"/>
              <a:gd name="T102" fmla="*/ 23574753 w 764"/>
              <a:gd name="T103" fmla="*/ 126585762 h 555"/>
              <a:gd name="T104" fmla="*/ 23197366 w 764"/>
              <a:gd name="T105" fmla="*/ 121105816 h 555"/>
              <a:gd name="T106" fmla="*/ 20934346 w 764"/>
              <a:gd name="T107" fmla="*/ 118639866 h 555"/>
              <a:gd name="T108" fmla="*/ 13013125 w 764"/>
              <a:gd name="T109" fmla="*/ 118091819 h 555"/>
              <a:gd name="T110" fmla="*/ 9806854 w 764"/>
              <a:gd name="T111" fmla="*/ 115351585 h 555"/>
              <a:gd name="T112" fmla="*/ 6412107 w 764"/>
              <a:gd name="T113" fmla="*/ 105214024 h 555"/>
              <a:gd name="T114" fmla="*/ 3583224 w 764"/>
              <a:gd name="T115" fmla="*/ 84664619 h 555"/>
              <a:gd name="T116" fmla="*/ 1886067 w 764"/>
              <a:gd name="T117" fmla="*/ 79732720 h 555"/>
              <a:gd name="T118" fmla="*/ 0 w 764"/>
              <a:gd name="T119" fmla="*/ 76718723 h 555"/>
              <a:gd name="T120" fmla="*/ 377387 w 764"/>
              <a:gd name="T121" fmla="*/ 73430441 h 555"/>
              <a:gd name="T122" fmla="*/ 4149087 w 764"/>
              <a:gd name="T123" fmla="*/ 67950495 h 555"/>
              <a:gd name="T124" fmla="*/ 6412107 w 764"/>
              <a:gd name="T125" fmla="*/ 60552646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92" name="Freeform 261">
            <a:extLst>
              <a:ext uri="{FF2B5EF4-FFF2-40B4-BE49-F238E27FC236}">
                <a16:creationId xmlns:a16="http://schemas.microsoft.com/office/drawing/2014/main" id="{CA830067-27B3-4523-9342-07938800B4B1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6719996" y="6487330"/>
            <a:ext cx="1226804" cy="1535678"/>
          </a:xfrm>
          <a:custGeom>
            <a:avLst/>
            <a:gdLst>
              <a:gd name="T0" fmla="*/ 150389759 w 831"/>
              <a:gd name="T1" fmla="*/ 22343635 h 812"/>
              <a:gd name="T2" fmla="*/ 136489964 w 831"/>
              <a:gd name="T3" fmla="*/ 7902017 h 812"/>
              <a:gd name="T4" fmla="*/ 108497048 w 831"/>
              <a:gd name="T5" fmla="*/ 2724834 h 812"/>
              <a:gd name="T6" fmla="*/ 96334562 w 831"/>
              <a:gd name="T7" fmla="*/ 7902017 h 812"/>
              <a:gd name="T8" fmla="*/ 93824822 w 831"/>
              <a:gd name="T9" fmla="*/ 13351684 h 812"/>
              <a:gd name="T10" fmla="*/ 95948347 w 831"/>
              <a:gd name="T11" fmla="*/ 19346318 h 812"/>
              <a:gd name="T12" fmla="*/ 99809621 w 831"/>
              <a:gd name="T13" fmla="*/ 24523502 h 812"/>
              <a:gd name="T14" fmla="*/ 99616294 w 831"/>
              <a:gd name="T15" fmla="*/ 30245653 h 812"/>
              <a:gd name="T16" fmla="*/ 94790141 w 831"/>
              <a:gd name="T17" fmla="*/ 38147670 h 812"/>
              <a:gd name="T18" fmla="*/ 92666616 w 831"/>
              <a:gd name="T19" fmla="*/ 44142304 h 812"/>
              <a:gd name="T20" fmla="*/ 86874705 w 831"/>
              <a:gd name="T21" fmla="*/ 50136938 h 812"/>
              <a:gd name="T22" fmla="*/ 82434328 w 831"/>
              <a:gd name="T23" fmla="*/ 66213456 h 812"/>
              <a:gd name="T24" fmla="*/ 81083234 w 831"/>
              <a:gd name="T25" fmla="*/ 90464475 h 812"/>
              <a:gd name="T26" fmla="*/ 75677539 w 831"/>
              <a:gd name="T27" fmla="*/ 86922191 h 812"/>
              <a:gd name="T28" fmla="*/ 71430489 w 831"/>
              <a:gd name="T29" fmla="*/ 85832258 h 812"/>
              <a:gd name="T30" fmla="*/ 65252802 w 831"/>
              <a:gd name="T31" fmla="*/ 92371858 h 812"/>
              <a:gd name="T32" fmla="*/ 60426210 w 831"/>
              <a:gd name="T33" fmla="*/ 95641658 h 812"/>
              <a:gd name="T34" fmla="*/ 55985833 w 831"/>
              <a:gd name="T35" fmla="*/ 100818842 h 812"/>
              <a:gd name="T36" fmla="*/ 54055196 w 831"/>
              <a:gd name="T37" fmla="*/ 115532421 h 812"/>
              <a:gd name="T38" fmla="*/ 45367770 w 831"/>
              <a:gd name="T39" fmla="*/ 120437122 h 812"/>
              <a:gd name="T40" fmla="*/ 24517858 w 831"/>
              <a:gd name="T41" fmla="*/ 125886789 h 812"/>
              <a:gd name="T42" fmla="*/ 5019480 w 831"/>
              <a:gd name="T43" fmla="*/ 122344505 h 812"/>
              <a:gd name="T44" fmla="*/ 9845633 w 831"/>
              <a:gd name="T45" fmla="*/ 137603573 h 812"/>
              <a:gd name="T46" fmla="*/ 18533499 w 831"/>
              <a:gd name="T47" fmla="*/ 147140491 h 812"/>
              <a:gd name="T48" fmla="*/ 23745867 w 831"/>
              <a:gd name="T49" fmla="*/ 157222375 h 812"/>
              <a:gd name="T50" fmla="*/ 27413813 w 831"/>
              <a:gd name="T51" fmla="*/ 162399559 h 812"/>
              <a:gd name="T52" fmla="*/ 19112602 w 831"/>
              <a:gd name="T53" fmla="*/ 176296210 h 812"/>
              <a:gd name="T54" fmla="*/ 16795750 w 831"/>
              <a:gd name="T55" fmla="*/ 182835811 h 812"/>
              <a:gd name="T56" fmla="*/ 21042800 w 831"/>
              <a:gd name="T57" fmla="*/ 196187495 h 812"/>
              <a:gd name="T58" fmla="*/ 42858030 w 831"/>
              <a:gd name="T59" fmla="*/ 193462662 h 812"/>
              <a:gd name="T60" fmla="*/ 58302685 w 831"/>
              <a:gd name="T61" fmla="*/ 192100245 h 812"/>
              <a:gd name="T62" fmla="*/ 63707941 w 831"/>
              <a:gd name="T63" fmla="*/ 196459979 h 812"/>
              <a:gd name="T64" fmla="*/ 69306964 w 831"/>
              <a:gd name="T65" fmla="*/ 205996896 h 812"/>
              <a:gd name="T66" fmla="*/ 78766382 w 831"/>
              <a:gd name="T67" fmla="*/ 213898913 h 812"/>
              <a:gd name="T68" fmla="*/ 86681817 w 831"/>
              <a:gd name="T69" fmla="*/ 218803614 h 812"/>
              <a:gd name="T70" fmla="*/ 88805342 w 831"/>
              <a:gd name="T71" fmla="*/ 215533814 h 812"/>
              <a:gd name="T72" fmla="*/ 94017710 w 831"/>
              <a:gd name="T73" fmla="*/ 210901596 h 812"/>
              <a:gd name="T74" fmla="*/ 106952626 w 831"/>
              <a:gd name="T75" fmla="*/ 208176763 h 812"/>
              <a:gd name="T76" fmla="*/ 115253837 w 831"/>
              <a:gd name="T77" fmla="*/ 204361996 h 812"/>
              <a:gd name="T78" fmla="*/ 119307999 w 831"/>
              <a:gd name="T79" fmla="*/ 198094879 h 812"/>
              <a:gd name="T80" fmla="*/ 112744097 w 831"/>
              <a:gd name="T81" fmla="*/ 190737828 h 812"/>
              <a:gd name="T82" fmla="*/ 104635774 w 831"/>
              <a:gd name="T83" fmla="*/ 174661310 h 812"/>
              <a:gd name="T84" fmla="*/ 101546931 w 831"/>
              <a:gd name="T85" fmla="*/ 170029093 h 812"/>
              <a:gd name="T86" fmla="*/ 101546931 w 831"/>
              <a:gd name="T87" fmla="*/ 157494858 h 812"/>
              <a:gd name="T88" fmla="*/ 112357882 w 831"/>
              <a:gd name="T89" fmla="*/ 153407608 h 812"/>
              <a:gd name="T90" fmla="*/ 120080429 w 831"/>
              <a:gd name="T91" fmla="*/ 144688141 h 812"/>
              <a:gd name="T92" fmla="*/ 132822018 w 831"/>
              <a:gd name="T93" fmla="*/ 113625038 h 812"/>
              <a:gd name="T94" fmla="*/ 140930341 w 831"/>
              <a:gd name="T95" fmla="*/ 100273875 h 812"/>
              <a:gd name="T96" fmla="*/ 139965023 w 831"/>
              <a:gd name="T97" fmla="*/ 89919508 h 812"/>
              <a:gd name="T98" fmla="*/ 140737014 w 831"/>
              <a:gd name="T99" fmla="*/ 83107424 h 812"/>
              <a:gd name="T100" fmla="*/ 144984503 w 831"/>
              <a:gd name="T101" fmla="*/ 78747690 h 812"/>
              <a:gd name="T102" fmla="*/ 129346959 w 831"/>
              <a:gd name="T103" fmla="*/ 56404055 h 812"/>
              <a:gd name="T104" fmla="*/ 146335597 w 831"/>
              <a:gd name="T105" fmla="*/ 38147670 h 812"/>
              <a:gd name="T106" fmla="*/ 155409239 w 831"/>
              <a:gd name="T107" fmla="*/ 33515453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93" name="Freeform 272">
            <a:extLst>
              <a:ext uri="{FF2B5EF4-FFF2-40B4-BE49-F238E27FC236}">
                <a16:creationId xmlns:a16="http://schemas.microsoft.com/office/drawing/2014/main" id="{381152D0-518D-4370-9620-10D28B5DC373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1424519" y="5768378"/>
            <a:ext cx="405378" cy="621171"/>
          </a:xfrm>
          <a:custGeom>
            <a:avLst/>
            <a:gdLst>
              <a:gd name="T0" fmla="*/ 49374425 w 266"/>
              <a:gd name="T1" fmla="*/ 2489181 h 326"/>
              <a:gd name="T2" fmla="*/ 49374425 w 266"/>
              <a:gd name="T3" fmla="*/ 7744702 h 326"/>
              <a:gd name="T4" fmla="*/ 51225904 w 266"/>
              <a:gd name="T5" fmla="*/ 11617052 h 326"/>
              <a:gd name="T6" fmla="*/ 50403125 w 266"/>
              <a:gd name="T7" fmla="*/ 15212769 h 326"/>
              <a:gd name="T8" fmla="*/ 46288779 w 266"/>
              <a:gd name="T9" fmla="*/ 13829599 h 326"/>
              <a:gd name="T10" fmla="*/ 43202679 w 266"/>
              <a:gd name="T11" fmla="*/ 14106233 h 326"/>
              <a:gd name="T12" fmla="*/ 40116579 w 266"/>
              <a:gd name="T13" fmla="*/ 17978584 h 326"/>
              <a:gd name="T14" fmla="*/ 39705189 w 266"/>
              <a:gd name="T15" fmla="*/ 21574300 h 326"/>
              <a:gd name="T16" fmla="*/ 40733889 w 266"/>
              <a:gd name="T17" fmla="*/ 24616749 h 326"/>
              <a:gd name="T18" fmla="*/ 44231379 w 266"/>
              <a:gd name="T19" fmla="*/ 30425012 h 326"/>
              <a:gd name="T20" fmla="*/ 46082857 w 266"/>
              <a:gd name="T21" fmla="*/ 33744095 h 326"/>
              <a:gd name="T22" fmla="*/ 46288779 w 266"/>
              <a:gd name="T23" fmla="*/ 36786543 h 326"/>
              <a:gd name="T24" fmla="*/ 45671468 w 266"/>
              <a:gd name="T25" fmla="*/ 39552884 h 326"/>
              <a:gd name="T26" fmla="*/ 42585368 w 266"/>
              <a:gd name="T27" fmla="*/ 42595333 h 326"/>
              <a:gd name="T28" fmla="*/ 41145279 w 266"/>
              <a:gd name="T29" fmla="*/ 44254611 h 326"/>
              <a:gd name="T30" fmla="*/ 37236400 w 266"/>
              <a:gd name="T31" fmla="*/ 45914415 h 326"/>
              <a:gd name="T32" fmla="*/ 33739364 w 266"/>
              <a:gd name="T33" fmla="*/ 49233498 h 326"/>
              <a:gd name="T34" fmla="*/ 32916132 w 266"/>
              <a:gd name="T35" fmla="*/ 52829215 h 326"/>
              <a:gd name="T36" fmla="*/ 35590843 w 266"/>
              <a:gd name="T37" fmla="*/ 57254308 h 326"/>
              <a:gd name="T38" fmla="*/ 38882411 w 266"/>
              <a:gd name="T39" fmla="*/ 59467380 h 326"/>
              <a:gd name="T40" fmla="*/ 44025457 w 266"/>
              <a:gd name="T41" fmla="*/ 62786463 h 326"/>
              <a:gd name="T42" fmla="*/ 50403125 w 266"/>
              <a:gd name="T43" fmla="*/ 71637174 h 326"/>
              <a:gd name="T44" fmla="*/ 51637293 w 266"/>
              <a:gd name="T45" fmla="*/ 78828608 h 326"/>
              <a:gd name="T46" fmla="*/ 45260079 w 266"/>
              <a:gd name="T47" fmla="*/ 80488412 h 326"/>
              <a:gd name="T48" fmla="*/ 42585368 w 266"/>
              <a:gd name="T49" fmla="*/ 82424325 h 326"/>
              <a:gd name="T50" fmla="*/ 40733889 w 266"/>
              <a:gd name="T51" fmla="*/ 86296675 h 326"/>
              <a:gd name="T52" fmla="*/ 38882411 w 266"/>
              <a:gd name="T53" fmla="*/ 90169026 h 326"/>
              <a:gd name="T54" fmla="*/ 34973532 w 266"/>
              <a:gd name="T55" fmla="*/ 88785856 h 326"/>
              <a:gd name="T56" fmla="*/ 34356221 w 266"/>
              <a:gd name="T57" fmla="*/ 87403212 h 326"/>
              <a:gd name="T58" fmla="*/ 31681964 w 266"/>
              <a:gd name="T59" fmla="*/ 85743407 h 326"/>
              <a:gd name="T60" fmla="*/ 28595864 w 266"/>
              <a:gd name="T61" fmla="*/ 83254227 h 326"/>
              <a:gd name="T62" fmla="*/ 25921607 w 266"/>
              <a:gd name="T63" fmla="*/ 81594422 h 326"/>
              <a:gd name="T64" fmla="*/ 20161250 w 266"/>
              <a:gd name="T65" fmla="*/ 80211778 h 326"/>
              <a:gd name="T66" fmla="*/ 12960804 w 266"/>
              <a:gd name="T67" fmla="*/ 76616061 h 326"/>
              <a:gd name="T68" fmla="*/ 11109325 w 266"/>
              <a:gd name="T69" fmla="*/ 74126881 h 326"/>
              <a:gd name="T70" fmla="*/ 11314793 w 266"/>
              <a:gd name="T71" fmla="*/ 70807798 h 326"/>
              <a:gd name="T72" fmla="*/ 14400893 w 266"/>
              <a:gd name="T73" fmla="*/ 67488715 h 326"/>
              <a:gd name="T74" fmla="*/ 12138025 w 266"/>
              <a:gd name="T75" fmla="*/ 61126658 h 326"/>
              <a:gd name="T76" fmla="*/ 6994525 w 266"/>
              <a:gd name="T77" fmla="*/ 53659117 h 326"/>
              <a:gd name="T78" fmla="*/ 2674257 w 266"/>
              <a:gd name="T79" fmla="*/ 50339508 h 326"/>
              <a:gd name="T80" fmla="*/ 822779 w 266"/>
              <a:gd name="T81" fmla="*/ 47297060 h 326"/>
              <a:gd name="T82" fmla="*/ 3908879 w 266"/>
              <a:gd name="T83" fmla="*/ 42042064 h 326"/>
              <a:gd name="T84" fmla="*/ 11109325 w 266"/>
              <a:gd name="T85" fmla="*/ 34297363 h 326"/>
              <a:gd name="T86" fmla="*/ 15018204 w 266"/>
              <a:gd name="T87" fmla="*/ 29042368 h 326"/>
              <a:gd name="T88" fmla="*/ 18103850 w 266"/>
              <a:gd name="T89" fmla="*/ 25446651 h 326"/>
              <a:gd name="T90" fmla="*/ 22630039 w 266"/>
              <a:gd name="T91" fmla="*/ 24340115 h 326"/>
              <a:gd name="T92" fmla="*/ 29624564 w 266"/>
              <a:gd name="T93" fmla="*/ 19361228 h 326"/>
              <a:gd name="T94" fmla="*/ 34562143 w 266"/>
              <a:gd name="T95" fmla="*/ 12723063 h 326"/>
              <a:gd name="T96" fmla="*/ 39293800 w 266"/>
              <a:gd name="T97" fmla="*/ 5808263 h 326"/>
              <a:gd name="T98" fmla="*/ 45260079 w 266"/>
              <a:gd name="T99" fmla="*/ 1106536 h 326"/>
              <a:gd name="T100" fmla="*/ 48963036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94" name="Freeform 278">
            <a:extLst>
              <a:ext uri="{FF2B5EF4-FFF2-40B4-BE49-F238E27FC236}">
                <a16:creationId xmlns:a16="http://schemas.microsoft.com/office/drawing/2014/main" id="{6B89FB84-6136-451C-9D8F-2BD923547D36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1691217" y="6291775"/>
            <a:ext cx="288033" cy="471632"/>
          </a:xfrm>
          <a:custGeom>
            <a:avLst/>
            <a:gdLst>
              <a:gd name="T0" fmla="*/ 3306842 w 200"/>
              <a:gd name="T1" fmla="*/ 11480800 h 246"/>
              <a:gd name="T2" fmla="*/ 5144357 w 200"/>
              <a:gd name="T3" fmla="*/ 7280275 h 246"/>
              <a:gd name="T4" fmla="*/ 6981444 w 200"/>
              <a:gd name="T5" fmla="*/ 4480454 h 246"/>
              <a:gd name="T6" fmla="*/ 9185862 w 200"/>
              <a:gd name="T7" fmla="*/ 2520421 h 246"/>
              <a:gd name="T8" fmla="*/ 13411676 w 200"/>
              <a:gd name="T9" fmla="*/ 279929 h 246"/>
              <a:gd name="T10" fmla="*/ 16167306 w 200"/>
              <a:gd name="T11" fmla="*/ 3360208 h 246"/>
              <a:gd name="T12" fmla="*/ 19841909 w 200"/>
              <a:gd name="T13" fmla="*/ 9520767 h 246"/>
              <a:gd name="T14" fmla="*/ 22964870 w 200"/>
              <a:gd name="T15" fmla="*/ 14000692 h 246"/>
              <a:gd name="T16" fmla="*/ 25537049 w 200"/>
              <a:gd name="T17" fmla="*/ 16241183 h 246"/>
              <a:gd name="T18" fmla="*/ 27925347 w 200"/>
              <a:gd name="T19" fmla="*/ 17921288 h 246"/>
              <a:gd name="T20" fmla="*/ 30497526 w 200"/>
              <a:gd name="T21" fmla="*/ 18761075 h 246"/>
              <a:gd name="T22" fmla="*/ 33804368 w 200"/>
              <a:gd name="T23" fmla="*/ 26881667 h 246"/>
              <a:gd name="T24" fmla="*/ 35825335 w 200"/>
              <a:gd name="T25" fmla="*/ 38362467 h 246"/>
              <a:gd name="T26" fmla="*/ 36559998 w 200"/>
              <a:gd name="T27" fmla="*/ 46203129 h 246"/>
              <a:gd name="T28" fmla="*/ 36743878 w 200"/>
              <a:gd name="T29" fmla="*/ 51803300 h 246"/>
              <a:gd name="T30" fmla="*/ 36376547 w 200"/>
              <a:gd name="T31" fmla="*/ 55163508 h 246"/>
              <a:gd name="T32" fmla="*/ 35825335 w 200"/>
              <a:gd name="T33" fmla="*/ 57963329 h 246"/>
              <a:gd name="T34" fmla="*/ 34722911 w 200"/>
              <a:gd name="T35" fmla="*/ 59923892 h 246"/>
              <a:gd name="T36" fmla="*/ 32885825 w 200"/>
              <a:gd name="T37" fmla="*/ 61603996 h 246"/>
              <a:gd name="T38" fmla="*/ 30130194 w 200"/>
              <a:gd name="T39" fmla="*/ 62723712 h 246"/>
              <a:gd name="T40" fmla="*/ 25720929 w 200"/>
              <a:gd name="T41" fmla="*/ 62723712 h 246"/>
              <a:gd name="T42" fmla="*/ 21678995 w 200"/>
              <a:gd name="T43" fmla="*/ 64123887 h 246"/>
              <a:gd name="T44" fmla="*/ 20392692 w 200"/>
              <a:gd name="T45" fmla="*/ 65803992 h 246"/>
              <a:gd name="T46" fmla="*/ 19841909 w 200"/>
              <a:gd name="T47" fmla="*/ 67764025 h 246"/>
              <a:gd name="T48" fmla="*/ 18004393 w 200"/>
              <a:gd name="T49" fmla="*/ 68604342 h 246"/>
              <a:gd name="T50" fmla="*/ 15616095 w 200"/>
              <a:gd name="T51" fmla="*/ 67204167 h 246"/>
              <a:gd name="T52" fmla="*/ 14146340 w 200"/>
              <a:gd name="T53" fmla="*/ 64403817 h 246"/>
              <a:gd name="T54" fmla="*/ 13411676 w 200"/>
              <a:gd name="T55" fmla="*/ 60483750 h 246"/>
              <a:gd name="T56" fmla="*/ 13227796 w 200"/>
              <a:gd name="T57" fmla="*/ 53763333 h 246"/>
              <a:gd name="T58" fmla="*/ 13043916 w 200"/>
              <a:gd name="T59" fmla="*/ 47042917 h 246"/>
              <a:gd name="T60" fmla="*/ 12676584 w 200"/>
              <a:gd name="T61" fmla="*/ 43122850 h 246"/>
              <a:gd name="T62" fmla="*/ 11758041 w 200"/>
              <a:gd name="T63" fmla="*/ 39762642 h 246"/>
              <a:gd name="T64" fmla="*/ 10288286 w 200"/>
              <a:gd name="T65" fmla="*/ 37522150 h 246"/>
              <a:gd name="T66" fmla="*/ 7348776 w 200"/>
              <a:gd name="T67" fmla="*/ 35002258 h 246"/>
              <a:gd name="T68" fmla="*/ 3306842 w 200"/>
              <a:gd name="T69" fmla="*/ 32201908 h 246"/>
              <a:gd name="T70" fmla="*/ 1102424 w 200"/>
              <a:gd name="T71" fmla="*/ 29682017 h 246"/>
              <a:gd name="T72" fmla="*/ 183880 w 200"/>
              <a:gd name="T73" fmla="*/ 27441525 h 246"/>
              <a:gd name="T74" fmla="*/ 183880 w 200"/>
              <a:gd name="T75" fmla="*/ 24361775 h 246"/>
              <a:gd name="T76" fmla="*/ 918543 w 200"/>
              <a:gd name="T77" fmla="*/ 21841354 h 246"/>
              <a:gd name="T78" fmla="*/ 1837087 w 200"/>
              <a:gd name="T79" fmla="*/ 19041004 h 246"/>
              <a:gd name="T80" fmla="*/ 2388299 w 200"/>
              <a:gd name="T81" fmla="*/ 15680796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95" name="Freeform 341">
            <a:extLst>
              <a:ext uri="{FF2B5EF4-FFF2-40B4-BE49-F238E27FC236}">
                <a16:creationId xmlns:a16="http://schemas.microsoft.com/office/drawing/2014/main" id="{DFDE7834-9C87-42D7-9EA2-E5379B55E05B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7968135" y="6625367"/>
            <a:ext cx="181353" cy="218559"/>
          </a:xfrm>
          <a:custGeom>
            <a:avLst/>
            <a:gdLst>
              <a:gd name="T0" fmla="*/ 0 w 133"/>
              <a:gd name="T1" fmla="*/ 5050801 h 117"/>
              <a:gd name="T2" fmla="*/ 11858267 w 133"/>
              <a:gd name="T3" fmla="*/ 0 h 117"/>
              <a:gd name="T4" fmla="*/ 13340347 w 133"/>
              <a:gd name="T5" fmla="*/ 1595261 h 117"/>
              <a:gd name="T6" fmla="*/ 14987194 w 133"/>
              <a:gd name="T7" fmla="*/ 3721588 h 117"/>
              <a:gd name="T8" fmla="*/ 16634446 w 133"/>
              <a:gd name="T9" fmla="*/ 6646062 h 117"/>
              <a:gd name="T10" fmla="*/ 17951760 w 133"/>
              <a:gd name="T11" fmla="*/ 9836069 h 117"/>
              <a:gd name="T12" fmla="*/ 19434247 w 133"/>
              <a:gd name="T13" fmla="*/ 13026075 h 117"/>
              <a:gd name="T14" fmla="*/ 20751561 w 133"/>
              <a:gd name="T15" fmla="*/ 16482131 h 117"/>
              <a:gd name="T16" fmla="*/ 21081093 w 133"/>
              <a:gd name="T17" fmla="*/ 18077392 h 117"/>
              <a:gd name="T18" fmla="*/ 21410624 w 133"/>
              <a:gd name="T19" fmla="*/ 19672137 h 117"/>
              <a:gd name="T20" fmla="*/ 21574984 w 133"/>
              <a:gd name="T21" fmla="*/ 21267398 h 117"/>
              <a:gd name="T22" fmla="*/ 21904516 w 133"/>
              <a:gd name="T23" fmla="*/ 22862144 h 117"/>
              <a:gd name="T24" fmla="*/ 21574984 w 133"/>
              <a:gd name="T25" fmla="*/ 24457405 h 117"/>
              <a:gd name="T26" fmla="*/ 21081093 w 133"/>
              <a:gd name="T27" fmla="*/ 25786617 h 117"/>
              <a:gd name="T28" fmla="*/ 20422436 w 133"/>
              <a:gd name="T29" fmla="*/ 27115830 h 117"/>
              <a:gd name="T30" fmla="*/ 19434247 w 133"/>
              <a:gd name="T31" fmla="*/ 28445042 h 117"/>
              <a:gd name="T32" fmla="*/ 18610418 w 133"/>
              <a:gd name="T33" fmla="*/ 29508206 h 117"/>
              <a:gd name="T34" fmla="*/ 17622229 w 133"/>
              <a:gd name="T35" fmla="*/ 30305836 h 117"/>
              <a:gd name="T36" fmla="*/ 16963571 w 133"/>
              <a:gd name="T37" fmla="*/ 31103467 h 117"/>
              <a:gd name="T38" fmla="*/ 16469680 w 133"/>
              <a:gd name="T39" fmla="*/ 31103467 h 117"/>
              <a:gd name="T40" fmla="*/ 11858267 w 133"/>
              <a:gd name="T41" fmla="*/ 25255035 h 117"/>
              <a:gd name="T42" fmla="*/ 7411214 w 133"/>
              <a:gd name="T43" fmla="*/ 18608974 h 117"/>
              <a:gd name="T44" fmla="*/ 5270070 w 133"/>
              <a:gd name="T45" fmla="*/ 15418967 h 117"/>
              <a:gd name="T46" fmla="*/ 2964567 w 133"/>
              <a:gd name="T47" fmla="*/ 12228960 h 117"/>
              <a:gd name="T48" fmla="*/ 1317720 w 133"/>
              <a:gd name="T49" fmla="*/ 8772905 h 117"/>
              <a:gd name="T50" fmla="*/ 0 w 133"/>
              <a:gd name="T51" fmla="*/ 5050801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96" name="Freeform 342">
            <a:extLst>
              <a:ext uri="{FF2B5EF4-FFF2-40B4-BE49-F238E27FC236}">
                <a16:creationId xmlns:a16="http://schemas.microsoft.com/office/drawing/2014/main" id="{16E3E770-FA13-4AA3-8097-BCB16A08F50C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2770855" y="4506615"/>
            <a:ext cx="741419" cy="644178"/>
          </a:xfrm>
          <a:custGeom>
            <a:avLst/>
            <a:gdLst>
              <a:gd name="T0" fmla="*/ 51933146 w 505"/>
              <a:gd name="T1" fmla="*/ 9902778 h 339"/>
              <a:gd name="T2" fmla="*/ 92410606 w 505"/>
              <a:gd name="T3" fmla="*/ 23657365 h 339"/>
              <a:gd name="T4" fmla="*/ 91264906 w 505"/>
              <a:gd name="T5" fmla="*/ 29984213 h 339"/>
              <a:gd name="T6" fmla="*/ 89928256 w 505"/>
              <a:gd name="T7" fmla="*/ 35485523 h 339"/>
              <a:gd name="T8" fmla="*/ 88019194 w 505"/>
              <a:gd name="T9" fmla="*/ 39886991 h 339"/>
              <a:gd name="T10" fmla="*/ 86109694 w 505"/>
              <a:gd name="T11" fmla="*/ 42087725 h 339"/>
              <a:gd name="T12" fmla="*/ 88019194 w 505"/>
              <a:gd name="T13" fmla="*/ 50615307 h 339"/>
              <a:gd name="T14" fmla="*/ 91073956 w 505"/>
              <a:gd name="T15" fmla="*/ 59142888 h 339"/>
              <a:gd name="T16" fmla="*/ 96420118 w 505"/>
              <a:gd name="T17" fmla="*/ 70971571 h 339"/>
              <a:gd name="T18" fmla="*/ 94129155 w 505"/>
              <a:gd name="T19" fmla="*/ 74547501 h 339"/>
              <a:gd name="T20" fmla="*/ 91455856 w 505"/>
              <a:gd name="T21" fmla="*/ 80324166 h 339"/>
              <a:gd name="T22" fmla="*/ 89355843 w 505"/>
              <a:gd name="T23" fmla="*/ 86376184 h 339"/>
              <a:gd name="T24" fmla="*/ 88592043 w 505"/>
              <a:gd name="T25" fmla="*/ 93253215 h 339"/>
              <a:gd name="T26" fmla="*/ 84582531 w 505"/>
              <a:gd name="T27" fmla="*/ 92978386 h 339"/>
              <a:gd name="T28" fmla="*/ 79045419 w 505"/>
              <a:gd name="T29" fmla="*/ 92152848 h 339"/>
              <a:gd name="T30" fmla="*/ 73508307 w 505"/>
              <a:gd name="T31" fmla="*/ 91052481 h 339"/>
              <a:gd name="T32" fmla="*/ 68353095 w 505"/>
              <a:gd name="T33" fmla="*/ 89677285 h 339"/>
              <a:gd name="T34" fmla="*/ 58043108 w 505"/>
              <a:gd name="T35" fmla="*/ 89401931 h 339"/>
              <a:gd name="T36" fmla="*/ 50405547 w 505"/>
              <a:gd name="T37" fmla="*/ 88301564 h 339"/>
              <a:gd name="T38" fmla="*/ 47350784 w 505"/>
              <a:gd name="T39" fmla="*/ 87201197 h 339"/>
              <a:gd name="T40" fmla="*/ 44296022 w 505"/>
              <a:gd name="T41" fmla="*/ 85275817 h 339"/>
              <a:gd name="T42" fmla="*/ 40668409 w 505"/>
              <a:gd name="T43" fmla="*/ 82524900 h 339"/>
              <a:gd name="T44" fmla="*/ 34367498 w 505"/>
              <a:gd name="T45" fmla="*/ 79499153 h 339"/>
              <a:gd name="T46" fmla="*/ 27876073 w 505"/>
              <a:gd name="T47" fmla="*/ 75097685 h 339"/>
              <a:gd name="T48" fmla="*/ 18711348 w 505"/>
              <a:gd name="T49" fmla="*/ 68495483 h 339"/>
              <a:gd name="T50" fmla="*/ 11837587 w 505"/>
              <a:gd name="T51" fmla="*/ 56667325 h 339"/>
              <a:gd name="T52" fmla="*/ 9928524 w 505"/>
              <a:gd name="T53" fmla="*/ 46489193 h 339"/>
              <a:gd name="T54" fmla="*/ 6873325 w 505"/>
              <a:gd name="T55" fmla="*/ 34110327 h 339"/>
              <a:gd name="T56" fmla="*/ 2863812 w 505"/>
              <a:gd name="T57" fmla="*/ 22831828 h 339"/>
              <a:gd name="T58" fmla="*/ 381900 w 505"/>
              <a:gd name="T59" fmla="*/ 17605347 h 339"/>
              <a:gd name="T60" fmla="*/ 954750 w 505"/>
              <a:gd name="T61" fmla="*/ 16780334 h 339"/>
              <a:gd name="T62" fmla="*/ 2100450 w 505"/>
              <a:gd name="T63" fmla="*/ 15404613 h 339"/>
              <a:gd name="T64" fmla="*/ 2100450 w 505"/>
              <a:gd name="T65" fmla="*/ 13203879 h 339"/>
              <a:gd name="T66" fmla="*/ 2100450 w 505"/>
              <a:gd name="T67" fmla="*/ 11828683 h 339"/>
              <a:gd name="T68" fmla="*/ 6491862 w 505"/>
              <a:gd name="T69" fmla="*/ 9352595 h 339"/>
              <a:gd name="T70" fmla="*/ 13938036 w 505"/>
              <a:gd name="T71" fmla="*/ 6052018 h 339"/>
              <a:gd name="T72" fmla="*/ 24438973 w 505"/>
              <a:gd name="T73" fmla="*/ 2200734 h 339"/>
              <a:gd name="T74" fmla="*/ 33030848 w 505"/>
              <a:gd name="T75" fmla="*/ 3025747 h 339"/>
              <a:gd name="T76" fmla="*/ 35895097 w 505"/>
              <a:gd name="T77" fmla="*/ 7702569 h 339"/>
              <a:gd name="T78" fmla="*/ 38377010 w 505"/>
              <a:gd name="T79" fmla="*/ 9627949 h 339"/>
              <a:gd name="T80" fmla="*/ 41813672 w 505"/>
              <a:gd name="T81" fmla="*/ 9902778 h 339"/>
              <a:gd name="T82" fmla="*/ 45632671 w 505"/>
              <a:gd name="T83" fmla="*/ 9902778 h 339"/>
              <a:gd name="T84" fmla="*/ 49451234 w 505"/>
              <a:gd name="T85" fmla="*/ 6602202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97" name="Freeform 343">
            <a:extLst>
              <a:ext uri="{FF2B5EF4-FFF2-40B4-BE49-F238E27FC236}">
                <a16:creationId xmlns:a16="http://schemas.microsoft.com/office/drawing/2014/main" id="{F4B38D5D-C8D0-4BDF-AF4D-8DDBFFBBFFD1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2984208" y="5248571"/>
            <a:ext cx="490722" cy="258824"/>
          </a:xfrm>
          <a:custGeom>
            <a:avLst/>
            <a:gdLst>
              <a:gd name="T0" fmla="*/ 58253641 w 338"/>
              <a:gd name="T1" fmla="*/ 0 h 141"/>
              <a:gd name="T2" fmla="*/ 34728357 w 338"/>
              <a:gd name="T3" fmla="*/ 0 h 141"/>
              <a:gd name="T4" fmla="*/ 31367478 w 338"/>
              <a:gd name="T5" fmla="*/ 2053463 h 141"/>
              <a:gd name="T6" fmla="*/ 26886163 w 338"/>
              <a:gd name="T7" fmla="*/ 5390782 h 141"/>
              <a:gd name="T8" fmla="*/ 24645721 w 338"/>
              <a:gd name="T9" fmla="*/ 6931006 h 141"/>
              <a:gd name="T10" fmla="*/ 22218612 w 338"/>
              <a:gd name="T11" fmla="*/ 8214357 h 141"/>
              <a:gd name="T12" fmla="*/ 20911508 w 338"/>
              <a:gd name="T13" fmla="*/ 8727596 h 141"/>
              <a:gd name="T14" fmla="*/ 19604836 w 338"/>
              <a:gd name="T15" fmla="*/ 8984468 h 141"/>
              <a:gd name="T16" fmla="*/ 18484399 w 338"/>
              <a:gd name="T17" fmla="*/ 9240835 h 141"/>
              <a:gd name="T18" fmla="*/ 17363962 w 338"/>
              <a:gd name="T19" fmla="*/ 9497707 h 141"/>
              <a:gd name="T20" fmla="*/ 16430625 w 338"/>
              <a:gd name="T21" fmla="*/ 9240835 h 141"/>
              <a:gd name="T22" fmla="*/ 15683523 w 338"/>
              <a:gd name="T23" fmla="*/ 8984468 h 141"/>
              <a:gd name="T24" fmla="*/ 14563518 w 338"/>
              <a:gd name="T25" fmla="*/ 8214357 h 141"/>
              <a:gd name="T26" fmla="*/ 13816416 w 338"/>
              <a:gd name="T27" fmla="*/ 7701118 h 141"/>
              <a:gd name="T28" fmla="*/ 12323077 w 338"/>
              <a:gd name="T29" fmla="*/ 6160894 h 141"/>
              <a:gd name="T30" fmla="*/ 11015972 w 338"/>
              <a:gd name="T31" fmla="*/ 4620671 h 141"/>
              <a:gd name="T32" fmla="*/ 9148866 w 338"/>
              <a:gd name="T33" fmla="*/ 8727596 h 141"/>
              <a:gd name="T34" fmla="*/ 6908424 w 338"/>
              <a:gd name="T35" fmla="*/ 13091393 h 141"/>
              <a:gd name="T36" fmla="*/ 5601320 w 338"/>
              <a:gd name="T37" fmla="*/ 15401729 h 141"/>
              <a:gd name="T38" fmla="*/ 3920881 w 338"/>
              <a:gd name="T39" fmla="*/ 17455191 h 141"/>
              <a:gd name="T40" fmla="*/ 2053774 w 338"/>
              <a:gd name="T41" fmla="*/ 19252288 h 141"/>
              <a:gd name="T42" fmla="*/ 0 w 338"/>
              <a:gd name="T43" fmla="*/ 20535638 h 141"/>
              <a:gd name="T44" fmla="*/ 2240442 w 338"/>
              <a:gd name="T45" fmla="*/ 23102847 h 141"/>
              <a:gd name="T46" fmla="*/ 4294216 w 338"/>
              <a:gd name="T47" fmla="*/ 25669548 h 141"/>
              <a:gd name="T48" fmla="*/ 6161322 w 338"/>
              <a:gd name="T49" fmla="*/ 27723011 h 141"/>
              <a:gd name="T50" fmla="*/ 8215096 w 338"/>
              <a:gd name="T51" fmla="*/ 29776980 h 141"/>
              <a:gd name="T52" fmla="*/ 10269303 w 338"/>
              <a:gd name="T53" fmla="*/ 31317203 h 141"/>
              <a:gd name="T54" fmla="*/ 12323077 w 338"/>
              <a:gd name="T55" fmla="*/ 33113793 h 141"/>
              <a:gd name="T56" fmla="*/ 14750186 w 338"/>
              <a:gd name="T57" fmla="*/ 34654016 h 141"/>
              <a:gd name="T58" fmla="*/ 17363962 w 338"/>
              <a:gd name="T59" fmla="*/ 36194240 h 141"/>
              <a:gd name="T60" fmla="*/ 48358106 w 338"/>
              <a:gd name="T61" fmla="*/ 36194240 h 141"/>
              <a:gd name="T62" fmla="*/ 50225212 w 338"/>
              <a:gd name="T63" fmla="*/ 31830442 h 141"/>
              <a:gd name="T64" fmla="*/ 52465654 w 338"/>
              <a:gd name="T65" fmla="*/ 27466644 h 141"/>
              <a:gd name="T66" fmla="*/ 54519428 w 338"/>
              <a:gd name="T67" fmla="*/ 23616086 h 141"/>
              <a:gd name="T68" fmla="*/ 56760302 w 338"/>
              <a:gd name="T69" fmla="*/ 20022399 h 141"/>
              <a:gd name="T70" fmla="*/ 58814076 w 338"/>
              <a:gd name="T71" fmla="*/ 16428713 h 141"/>
              <a:gd name="T72" fmla="*/ 60494515 w 338"/>
              <a:gd name="T73" fmla="*/ 12321282 h 141"/>
              <a:gd name="T74" fmla="*/ 62174522 w 338"/>
              <a:gd name="T75" fmla="*/ 8727596 h 141"/>
              <a:gd name="T76" fmla="*/ 63108291 w 338"/>
              <a:gd name="T77" fmla="*/ 4620671 h 141"/>
              <a:gd name="T78" fmla="*/ 58253641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98" name="Freeform 344">
            <a:extLst>
              <a:ext uri="{FF2B5EF4-FFF2-40B4-BE49-F238E27FC236}">
                <a16:creationId xmlns:a16="http://schemas.microsoft.com/office/drawing/2014/main" id="{E08414C0-A1B4-483D-AF8E-9B7210C25967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320250" y="4000481"/>
            <a:ext cx="373374" cy="235812"/>
          </a:xfrm>
          <a:custGeom>
            <a:avLst/>
            <a:gdLst>
              <a:gd name="T0" fmla="*/ 47678632 w 259"/>
              <a:gd name="T1" fmla="*/ 32839671 h 129"/>
              <a:gd name="T2" fmla="*/ 46942375 w 259"/>
              <a:gd name="T3" fmla="*/ 25966181 h 129"/>
              <a:gd name="T4" fmla="*/ 46390182 w 259"/>
              <a:gd name="T5" fmla="*/ 20365672 h 129"/>
              <a:gd name="T6" fmla="*/ 46390182 w 259"/>
              <a:gd name="T7" fmla="*/ 16038143 h 129"/>
              <a:gd name="T8" fmla="*/ 46574247 w 259"/>
              <a:gd name="T9" fmla="*/ 12728797 h 129"/>
              <a:gd name="T10" fmla="*/ 47310503 w 259"/>
              <a:gd name="T11" fmla="*/ 7382581 h 129"/>
              <a:gd name="T12" fmla="*/ 47678632 w 259"/>
              <a:gd name="T13" fmla="*/ 3055053 h 129"/>
              <a:gd name="T14" fmla="*/ 47494568 w 259"/>
              <a:gd name="T15" fmla="*/ 3564144 h 129"/>
              <a:gd name="T16" fmla="*/ 47126439 w 259"/>
              <a:gd name="T17" fmla="*/ 4073235 h 129"/>
              <a:gd name="T18" fmla="*/ 46574247 w 259"/>
              <a:gd name="T19" fmla="*/ 4327529 h 129"/>
              <a:gd name="T20" fmla="*/ 45837561 w 259"/>
              <a:gd name="T21" fmla="*/ 4582327 h 129"/>
              <a:gd name="T22" fmla="*/ 43996919 w 259"/>
              <a:gd name="T23" fmla="*/ 4836620 h 129"/>
              <a:gd name="T24" fmla="*/ 41971784 w 259"/>
              <a:gd name="T25" fmla="*/ 4836620 h 129"/>
              <a:gd name="T26" fmla="*/ 37737878 w 259"/>
              <a:gd name="T27" fmla="*/ 4836620 h 129"/>
              <a:gd name="T28" fmla="*/ 35344615 w 259"/>
              <a:gd name="T29" fmla="*/ 4582327 h 129"/>
              <a:gd name="T30" fmla="*/ 33319909 w 259"/>
              <a:gd name="T31" fmla="*/ 4327529 h 129"/>
              <a:gd name="T32" fmla="*/ 31662902 w 259"/>
              <a:gd name="T33" fmla="*/ 3818437 h 129"/>
              <a:gd name="T34" fmla="*/ 30006324 w 259"/>
              <a:gd name="T35" fmla="*/ 3055053 h 129"/>
              <a:gd name="T36" fmla="*/ 28717446 w 259"/>
              <a:gd name="T37" fmla="*/ 2291163 h 129"/>
              <a:gd name="T38" fmla="*/ 26876804 w 259"/>
              <a:gd name="T39" fmla="*/ 1527274 h 129"/>
              <a:gd name="T40" fmla="*/ 24667605 w 259"/>
              <a:gd name="T41" fmla="*/ 763889 h 129"/>
              <a:gd name="T42" fmla="*/ 21722149 w 259"/>
              <a:gd name="T43" fmla="*/ 254798 h 129"/>
              <a:gd name="T44" fmla="*/ 18224500 w 259"/>
              <a:gd name="T45" fmla="*/ 0 h 129"/>
              <a:gd name="T46" fmla="*/ 15279044 w 259"/>
              <a:gd name="T47" fmla="*/ 0 h 129"/>
              <a:gd name="T48" fmla="*/ 12334017 w 259"/>
              <a:gd name="T49" fmla="*/ 0 h 129"/>
              <a:gd name="T50" fmla="*/ 9204497 w 259"/>
              <a:gd name="T51" fmla="*/ 0 h 129"/>
              <a:gd name="T52" fmla="*/ 6259041 w 259"/>
              <a:gd name="T53" fmla="*/ 509091 h 129"/>
              <a:gd name="T54" fmla="*/ 4970162 w 259"/>
              <a:gd name="T55" fmla="*/ 1018183 h 129"/>
              <a:gd name="T56" fmla="*/ 3865777 w 259"/>
              <a:gd name="T57" fmla="*/ 1527274 h 129"/>
              <a:gd name="T58" fmla="*/ 2577328 w 259"/>
              <a:gd name="T59" fmla="*/ 2291163 h 129"/>
              <a:gd name="T60" fmla="*/ 1841071 w 259"/>
              <a:gd name="T61" fmla="*/ 3309346 h 129"/>
              <a:gd name="T62" fmla="*/ 920321 w 259"/>
              <a:gd name="T63" fmla="*/ 4327529 h 129"/>
              <a:gd name="T64" fmla="*/ 368128 w 259"/>
              <a:gd name="T65" fmla="*/ 5600509 h 129"/>
              <a:gd name="T66" fmla="*/ 0 w 259"/>
              <a:gd name="T67" fmla="*/ 7382581 h 129"/>
              <a:gd name="T68" fmla="*/ 0 w 259"/>
              <a:gd name="T69" fmla="*/ 9164653 h 129"/>
              <a:gd name="T70" fmla="*/ 0 w 259"/>
              <a:gd name="T71" fmla="*/ 12219201 h 129"/>
              <a:gd name="T72" fmla="*/ 552193 w 259"/>
              <a:gd name="T73" fmla="*/ 14765163 h 129"/>
              <a:gd name="T74" fmla="*/ 1104385 w 259"/>
              <a:gd name="T75" fmla="*/ 16547235 h 129"/>
              <a:gd name="T76" fmla="*/ 2209199 w 259"/>
              <a:gd name="T77" fmla="*/ 18074509 h 129"/>
              <a:gd name="T78" fmla="*/ 3129520 w 259"/>
              <a:gd name="T79" fmla="*/ 19347489 h 129"/>
              <a:gd name="T80" fmla="*/ 4417970 w 259"/>
              <a:gd name="T81" fmla="*/ 20365672 h 129"/>
              <a:gd name="T82" fmla="*/ 5706848 w 259"/>
              <a:gd name="T83" fmla="*/ 21129561 h 129"/>
              <a:gd name="T84" fmla="*/ 6811233 w 259"/>
              <a:gd name="T85" fmla="*/ 21638652 h 129"/>
              <a:gd name="T86" fmla="*/ 9204497 w 259"/>
              <a:gd name="T87" fmla="*/ 22402037 h 129"/>
              <a:gd name="T88" fmla="*/ 11229203 w 259"/>
              <a:gd name="T89" fmla="*/ 23420724 h 129"/>
              <a:gd name="T90" fmla="*/ 11965889 w 259"/>
              <a:gd name="T91" fmla="*/ 24184109 h 129"/>
              <a:gd name="T92" fmla="*/ 12334017 w 259"/>
              <a:gd name="T93" fmla="*/ 25202292 h 129"/>
              <a:gd name="T94" fmla="*/ 12334017 w 259"/>
              <a:gd name="T95" fmla="*/ 26730070 h 129"/>
              <a:gd name="T96" fmla="*/ 12149953 w 259"/>
              <a:gd name="T97" fmla="*/ 28257344 h 129"/>
              <a:gd name="T98" fmla="*/ 14910916 w 259"/>
              <a:gd name="T99" fmla="*/ 28003051 h 129"/>
              <a:gd name="T100" fmla="*/ 16751986 w 259"/>
              <a:gd name="T101" fmla="*/ 27493455 h 129"/>
              <a:gd name="T102" fmla="*/ 18040436 w 259"/>
              <a:gd name="T103" fmla="*/ 26984364 h 129"/>
              <a:gd name="T104" fmla="*/ 19329314 w 259"/>
              <a:gd name="T105" fmla="*/ 26730070 h 129"/>
              <a:gd name="T106" fmla="*/ 22090277 w 259"/>
              <a:gd name="T107" fmla="*/ 26984364 h 129"/>
              <a:gd name="T108" fmla="*/ 25772419 w 259"/>
              <a:gd name="T109" fmla="*/ 27493455 h 129"/>
              <a:gd name="T110" fmla="*/ 30558517 w 259"/>
              <a:gd name="T111" fmla="*/ 28512142 h 129"/>
              <a:gd name="T112" fmla="*/ 35344615 w 259"/>
              <a:gd name="T113" fmla="*/ 29784618 h 129"/>
              <a:gd name="T114" fmla="*/ 43812855 w 259"/>
              <a:gd name="T115" fmla="*/ 31821488 h 129"/>
              <a:gd name="T116" fmla="*/ 47678632 w 259"/>
              <a:gd name="T117" fmla="*/ 32839671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bg1">
              <a:lumMod val="65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99" name="Freeform 345">
            <a:extLst>
              <a:ext uri="{FF2B5EF4-FFF2-40B4-BE49-F238E27FC236}">
                <a16:creationId xmlns:a16="http://schemas.microsoft.com/office/drawing/2014/main" id="{92AEED79-73AE-4008-9E0F-10EC040214F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362924" y="5260078"/>
            <a:ext cx="602733" cy="517643"/>
          </a:xfrm>
          <a:custGeom>
            <a:avLst/>
            <a:gdLst>
              <a:gd name="T0" fmla="*/ 74469664 w 425"/>
              <a:gd name="T1" fmla="*/ 46905547 h 272"/>
              <a:gd name="T2" fmla="*/ 70906827 w 425"/>
              <a:gd name="T3" fmla="*/ 51872029 h 272"/>
              <a:gd name="T4" fmla="*/ 68234172 w 425"/>
              <a:gd name="T5" fmla="*/ 56838511 h 272"/>
              <a:gd name="T6" fmla="*/ 68412293 w 425"/>
              <a:gd name="T7" fmla="*/ 60977159 h 272"/>
              <a:gd name="T8" fmla="*/ 69303318 w 425"/>
              <a:gd name="T9" fmla="*/ 65391576 h 272"/>
              <a:gd name="T10" fmla="*/ 66809206 w 425"/>
              <a:gd name="T11" fmla="*/ 67323015 h 272"/>
              <a:gd name="T12" fmla="*/ 61820559 w 425"/>
              <a:gd name="T13" fmla="*/ 65667871 h 272"/>
              <a:gd name="T14" fmla="*/ 57722938 w 425"/>
              <a:gd name="T15" fmla="*/ 64840037 h 272"/>
              <a:gd name="T16" fmla="*/ 52556592 w 425"/>
              <a:gd name="T17" fmla="*/ 64840037 h 272"/>
              <a:gd name="T18" fmla="*/ 46855462 w 425"/>
              <a:gd name="T19" fmla="*/ 67047245 h 272"/>
              <a:gd name="T20" fmla="*/ 41332453 w 425"/>
              <a:gd name="T21" fmla="*/ 70082289 h 272"/>
              <a:gd name="T22" fmla="*/ 35096961 w 425"/>
              <a:gd name="T23" fmla="*/ 73669397 h 272"/>
              <a:gd name="T24" fmla="*/ 17815873 w 425"/>
              <a:gd name="T25" fmla="*/ 66219411 h 272"/>
              <a:gd name="T26" fmla="*/ 15143217 w 425"/>
              <a:gd name="T27" fmla="*/ 62356533 h 272"/>
              <a:gd name="T28" fmla="*/ 12470984 w 425"/>
              <a:gd name="T29" fmla="*/ 59045720 h 272"/>
              <a:gd name="T30" fmla="*/ 6591734 w 425"/>
              <a:gd name="T31" fmla="*/ 52975634 h 272"/>
              <a:gd name="T32" fmla="*/ 3919500 w 425"/>
              <a:gd name="T33" fmla="*/ 49664821 h 272"/>
              <a:gd name="T34" fmla="*/ 1959750 w 425"/>
              <a:gd name="T35" fmla="*/ 46077713 h 272"/>
              <a:gd name="T36" fmla="*/ 356241 w 425"/>
              <a:gd name="T37" fmla="*/ 41387000 h 272"/>
              <a:gd name="T38" fmla="*/ 0 w 425"/>
              <a:gd name="T39" fmla="*/ 35593209 h 272"/>
              <a:gd name="T40" fmla="*/ 8907725 w 425"/>
              <a:gd name="T41" fmla="*/ 18210259 h 272"/>
              <a:gd name="T42" fmla="*/ 12649105 w 425"/>
              <a:gd name="T43" fmla="*/ 9932964 h 272"/>
              <a:gd name="T44" fmla="*/ 14252614 w 425"/>
              <a:gd name="T45" fmla="*/ 6070086 h 272"/>
              <a:gd name="T46" fmla="*/ 15143217 w 425"/>
              <a:gd name="T47" fmla="*/ 1655669 h 272"/>
              <a:gd name="T48" fmla="*/ 21913494 w 425"/>
              <a:gd name="T49" fmla="*/ 2759273 h 272"/>
              <a:gd name="T50" fmla="*/ 27257960 w 425"/>
              <a:gd name="T51" fmla="*/ 4966482 h 272"/>
              <a:gd name="T52" fmla="*/ 32068486 w 425"/>
              <a:gd name="T53" fmla="*/ 7449460 h 272"/>
              <a:gd name="T54" fmla="*/ 36522349 w 425"/>
              <a:gd name="T55" fmla="*/ 8553590 h 272"/>
              <a:gd name="T56" fmla="*/ 38125858 w 425"/>
              <a:gd name="T57" fmla="*/ 8001525 h 272"/>
              <a:gd name="T58" fmla="*/ 39372703 w 425"/>
              <a:gd name="T59" fmla="*/ 7173691 h 272"/>
              <a:gd name="T60" fmla="*/ 41332453 w 425"/>
              <a:gd name="T61" fmla="*/ 4138648 h 272"/>
              <a:gd name="T62" fmla="*/ 43114083 w 425"/>
              <a:gd name="T63" fmla="*/ 1379374 h 272"/>
              <a:gd name="T64" fmla="*/ 44539471 w 425"/>
              <a:gd name="T65" fmla="*/ 552065 h 272"/>
              <a:gd name="T66" fmla="*/ 46142979 w 425"/>
              <a:gd name="T67" fmla="*/ 0 h 272"/>
              <a:gd name="T68" fmla="*/ 48993333 w 425"/>
              <a:gd name="T69" fmla="*/ 552065 h 272"/>
              <a:gd name="T70" fmla="*/ 51487446 w 425"/>
              <a:gd name="T71" fmla="*/ 1931439 h 272"/>
              <a:gd name="T72" fmla="*/ 53803437 w 425"/>
              <a:gd name="T73" fmla="*/ 4138648 h 272"/>
              <a:gd name="T74" fmla="*/ 55228825 w 425"/>
              <a:gd name="T75" fmla="*/ 7173691 h 272"/>
              <a:gd name="T76" fmla="*/ 57901059 w 425"/>
              <a:gd name="T77" fmla="*/ 14623676 h 272"/>
              <a:gd name="T78" fmla="*/ 60038930 w 425"/>
              <a:gd name="T79" fmla="*/ 22625202 h 272"/>
              <a:gd name="T80" fmla="*/ 62176800 w 425"/>
              <a:gd name="T81" fmla="*/ 31178267 h 272"/>
              <a:gd name="T82" fmla="*/ 63424068 w 425"/>
              <a:gd name="T83" fmla="*/ 34765375 h 272"/>
              <a:gd name="T84" fmla="*/ 65027576 w 425"/>
              <a:gd name="T85" fmla="*/ 38076188 h 272"/>
              <a:gd name="T86" fmla="*/ 66987327 w 425"/>
              <a:gd name="T87" fmla="*/ 40559691 h 272"/>
              <a:gd name="T88" fmla="*/ 69303318 w 425"/>
              <a:gd name="T89" fmla="*/ 43042670 h 272"/>
              <a:gd name="T90" fmla="*/ 72153672 w 425"/>
              <a:gd name="T91" fmla="*/ 44146274 h 272"/>
              <a:gd name="T92" fmla="*/ 75716931 w 425"/>
              <a:gd name="T93" fmla="*/ 44422044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00" name="Freeform 347">
            <a:extLst>
              <a:ext uri="{FF2B5EF4-FFF2-40B4-BE49-F238E27FC236}">
                <a16:creationId xmlns:a16="http://schemas.microsoft.com/office/drawing/2014/main" id="{6C65D005-8006-4185-AD00-4BFB16060111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3714962" y="5231321"/>
            <a:ext cx="288033" cy="287582"/>
          </a:xfrm>
          <a:custGeom>
            <a:avLst/>
            <a:gdLst>
              <a:gd name="T0" fmla="*/ 1196132 w 192"/>
              <a:gd name="T1" fmla="*/ 5047528 h 154"/>
              <a:gd name="T2" fmla="*/ 10366028 w 192"/>
              <a:gd name="T3" fmla="*/ 0 h 154"/>
              <a:gd name="T4" fmla="*/ 18340239 w 192"/>
              <a:gd name="T5" fmla="*/ 5047528 h 154"/>
              <a:gd name="T6" fmla="*/ 23722608 w 192"/>
              <a:gd name="T7" fmla="*/ 8235414 h 154"/>
              <a:gd name="T8" fmla="*/ 29104977 w 192"/>
              <a:gd name="T9" fmla="*/ 16736786 h 154"/>
              <a:gd name="T10" fmla="*/ 33091636 w 192"/>
              <a:gd name="T11" fmla="*/ 24706242 h 154"/>
              <a:gd name="T12" fmla="*/ 38274873 w 192"/>
              <a:gd name="T13" fmla="*/ 31347971 h 154"/>
              <a:gd name="T14" fmla="*/ 30301109 w 192"/>
              <a:gd name="T15" fmla="*/ 32941656 h 154"/>
              <a:gd name="T16" fmla="*/ 25117871 w 192"/>
              <a:gd name="T17" fmla="*/ 34535856 h 154"/>
              <a:gd name="T18" fmla="*/ 25117871 w 192"/>
              <a:gd name="T19" fmla="*/ 40911627 h 154"/>
              <a:gd name="T20" fmla="*/ 21130766 w 192"/>
              <a:gd name="T21" fmla="*/ 40911627 h 154"/>
              <a:gd name="T22" fmla="*/ 19735502 w 192"/>
              <a:gd name="T23" fmla="*/ 38786542 h 154"/>
              <a:gd name="T24" fmla="*/ 18539371 w 192"/>
              <a:gd name="T25" fmla="*/ 36395499 h 154"/>
              <a:gd name="T26" fmla="*/ 17542818 w 192"/>
              <a:gd name="T27" fmla="*/ 33473056 h 154"/>
              <a:gd name="T28" fmla="*/ 16346686 w 192"/>
              <a:gd name="T29" fmla="*/ 30551128 h 154"/>
              <a:gd name="T30" fmla="*/ 14751844 w 192"/>
              <a:gd name="T31" fmla="*/ 24706242 h 154"/>
              <a:gd name="T32" fmla="*/ 12957423 w 192"/>
              <a:gd name="T33" fmla="*/ 18861871 h 154"/>
              <a:gd name="T34" fmla="*/ 11960870 w 192"/>
              <a:gd name="T35" fmla="*/ 16205386 h 154"/>
              <a:gd name="T36" fmla="*/ 10964317 w 192"/>
              <a:gd name="T37" fmla="*/ 13282942 h 154"/>
              <a:gd name="T38" fmla="*/ 9568607 w 192"/>
              <a:gd name="T39" fmla="*/ 11157857 h 154"/>
              <a:gd name="T40" fmla="*/ 8173343 w 192"/>
              <a:gd name="T41" fmla="*/ 9032256 h 154"/>
              <a:gd name="T42" fmla="*/ 6578501 w 192"/>
              <a:gd name="T43" fmla="*/ 7438571 h 154"/>
              <a:gd name="T44" fmla="*/ 4784527 w 192"/>
              <a:gd name="T45" fmla="*/ 6110329 h 154"/>
              <a:gd name="T46" fmla="*/ 3588395 w 192"/>
              <a:gd name="T47" fmla="*/ 5844371 h 154"/>
              <a:gd name="T48" fmla="*/ 2392263 w 192"/>
              <a:gd name="T49" fmla="*/ 5312971 h 154"/>
              <a:gd name="T50" fmla="*/ 1196132 w 192"/>
              <a:gd name="T51" fmla="*/ 5312971 h 154"/>
              <a:gd name="T52" fmla="*/ 0 w 192"/>
              <a:gd name="T53" fmla="*/ 5047528 h 154"/>
              <a:gd name="T54" fmla="*/ 1196132 w 192"/>
              <a:gd name="T55" fmla="*/ 5047528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01" name="Freeform 348">
            <a:extLst>
              <a:ext uri="{FF2B5EF4-FFF2-40B4-BE49-F238E27FC236}">
                <a16:creationId xmlns:a16="http://schemas.microsoft.com/office/drawing/2014/main" id="{2EDA5331-7C4E-434E-8F10-F98575A688A3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429742" y="4775200"/>
            <a:ext cx="1280144" cy="897251"/>
          </a:xfrm>
          <a:custGeom>
            <a:avLst/>
            <a:gdLst>
              <a:gd name="T0" fmla="*/ 73983944 w 877"/>
              <a:gd name="T1" fmla="*/ 94800314 h 469"/>
              <a:gd name="T2" fmla="*/ 60206254 w 877"/>
              <a:gd name="T3" fmla="*/ 70542759 h 469"/>
              <a:gd name="T4" fmla="*/ 38879377 w 877"/>
              <a:gd name="T5" fmla="*/ 67196580 h 469"/>
              <a:gd name="T6" fmla="*/ 36048161 w 877"/>
              <a:gd name="T7" fmla="*/ 67754189 h 469"/>
              <a:gd name="T8" fmla="*/ 33594903 w 877"/>
              <a:gd name="T9" fmla="*/ 69985151 h 469"/>
              <a:gd name="T10" fmla="*/ 30575141 w 877"/>
              <a:gd name="T11" fmla="*/ 74446019 h 469"/>
              <a:gd name="T12" fmla="*/ 28498974 w 877"/>
              <a:gd name="T13" fmla="*/ 75561236 h 469"/>
              <a:gd name="T14" fmla="*/ 22836975 w 877"/>
              <a:gd name="T15" fmla="*/ 74724823 h 469"/>
              <a:gd name="T16" fmla="*/ 14909829 w 877"/>
              <a:gd name="T17" fmla="*/ 71100368 h 469"/>
              <a:gd name="T18" fmla="*/ 4906950 w 877"/>
              <a:gd name="T19" fmla="*/ 68869406 h 469"/>
              <a:gd name="T20" fmla="*/ 1509664 w 877"/>
              <a:gd name="T21" fmla="*/ 59110728 h 469"/>
              <a:gd name="T22" fmla="*/ 2453692 w 877"/>
              <a:gd name="T23" fmla="*/ 52140094 h 469"/>
              <a:gd name="T24" fmla="*/ 2453692 w 877"/>
              <a:gd name="T25" fmla="*/ 50188464 h 469"/>
              <a:gd name="T26" fmla="*/ 4340880 w 877"/>
              <a:gd name="T27" fmla="*/ 40150982 h 469"/>
              <a:gd name="T28" fmla="*/ 8304236 w 877"/>
              <a:gd name="T29" fmla="*/ 31228190 h 469"/>
              <a:gd name="T30" fmla="*/ 10191859 w 877"/>
              <a:gd name="T31" fmla="*/ 25652104 h 469"/>
              <a:gd name="T32" fmla="*/ 4906950 w 877"/>
              <a:gd name="T33" fmla="*/ 13941269 h 469"/>
              <a:gd name="T34" fmla="*/ 32650875 w 877"/>
              <a:gd name="T35" fmla="*/ 7249439 h 469"/>
              <a:gd name="T36" fmla="*/ 63981065 w 877"/>
              <a:gd name="T37" fmla="*/ 13941269 h 469"/>
              <a:gd name="T38" fmla="*/ 73983944 w 877"/>
              <a:gd name="T39" fmla="*/ 3624455 h 469"/>
              <a:gd name="T40" fmla="*/ 91536010 w 877"/>
              <a:gd name="T41" fmla="*/ 0 h 469"/>
              <a:gd name="T42" fmla="*/ 109277056 w 877"/>
              <a:gd name="T43" fmla="*/ 10595090 h 469"/>
              <a:gd name="T44" fmla="*/ 120412509 w 877"/>
              <a:gd name="T45" fmla="*/ 30949386 h 469"/>
              <a:gd name="T46" fmla="*/ 136832436 w 877"/>
              <a:gd name="T47" fmla="*/ 30949386 h 469"/>
              <a:gd name="T48" fmla="*/ 158159312 w 877"/>
              <a:gd name="T49" fmla="*/ 43217829 h 469"/>
              <a:gd name="T50" fmla="*/ 163066262 w 877"/>
              <a:gd name="T51" fmla="*/ 65523754 h 469"/>
              <a:gd name="T52" fmla="*/ 151742265 w 877"/>
              <a:gd name="T53" fmla="*/ 75840040 h 469"/>
              <a:gd name="T54" fmla="*/ 142305455 w 877"/>
              <a:gd name="T55" fmla="*/ 87272071 h 469"/>
              <a:gd name="T56" fmla="*/ 129849318 w 877"/>
              <a:gd name="T57" fmla="*/ 92012272 h 469"/>
              <a:gd name="T58" fmla="*/ 125130913 w 877"/>
              <a:gd name="T59" fmla="*/ 95636727 h 469"/>
              <a:gd name="T60" fmla="*/ 122299697 w 877"/>
              <a:gd name="T61" fmla="*/ 99819319 h 469"/>
              <a:gd name="T62" fmla="*/ 121922172 w 877"/>
              <a:gd name="T63" fmla="*/ 104558992 h 469"/>
              <a:gd name="T64" fmla="*/ 123243291 w 877"/>
              <a:gd name="T65" fmla="*/ 108741584 h 469"/>
              <a:gd name="T66" fmla="*/ 125696983 w 877"/>
              <a:gd name="T67" fmla="*/ 111808431 h 469"/>
              <a:gd name="T68" fmla="*/ 134190198 w 877"/>
              <a:gd name="T69" fmla="*/ 110414409 h 469"/>
              <a:gd name="T70" fmla="*/ 139852197 w 877"/>
              <a:gd name="T71" fmla="*/ 109856801 h 469"/>
              <a:gd name="T72" fmla="*/ 138531079 w 877"/>
              <a:gd name="T73" fmla="*/ 112366039 h 469"/>
              <a:gd name="T74" fmla="*/ 135133792 w 877"/>
              <a:gd name="T75" fmla="*/ 117385044 h 469"/>
              <a:gd name="T76" fmla="*/ 131736506 w 877"/>
              <a:gd name="T77" fmla="*/ 122125244 h 469"/>
              <a:gd name="T78" fmla="*/ 130037863 w 877"/>
              <a:gd name="T79" fmla="*/ 116827435 h 469"/>
              <a:gd name="T80" fmla="*/ 126640577 w 877"/>
              <a:gd name="T81" fmla="*/ 113760588 h 469"/>
              <a:gd name="T82" fmla="*/ 125696983 w 877"/>
              <a:gd name="T83" fmla="*/ 117942652 h 469"/>
              <a:gd name="T84" fmla="*/ 121356103 w 877"/>
              <a:gd name="T85" fmla="*/ 123240462 h 469"/>
              <a:gd name="T86" fmla="*/ 116826677 w 877"/>
              <a:gd name="T87" fmla="*/ 128259466 h 469"/>
              <a:gd name="T88" fmla="*/ 115316579 w 877"/>
              <a:gd name="T89" fmla="*/ 130768705 h 469"/>
              <a:gd name="T90" fmla="*/ 112296818 w 877"/>
              <a:gd name="T91" fmla="*/ 129374683 h 469"/>
              <a:gd name="T92" fmla="*/ 110220650 w 877"/>
              <a:gd name="T93" fmla="*/ 126864917 h 469"/>
              <a:gd name="T94" fmla="*/ 108522007 w 877"/>
              <a:gd name="T95" fmla="*/ 122404049 h 469"/>
              <a:gd name="T96" fmla="*/ 107955937 w 877"/>
              <a:gd name="T97" fmla="*/ 113760588 h 469"/>
              <a:gd name="T98" fmla="*/ 103426512 w 877"/>
              <a:gd name="T99" fmla="*/ 112645371 h 469"/>
              <a:gd name="T100" fmla="*/ 97764513 w 877"/>
              <a:gd name="T101" fmla="*/ 108462779 h 469"/>
              <a:gd name="T102" fmla="*/ 105502245 w 877"/>
              <a:gd name="T103" fmla="*/ 105674737 h 469"/>
              <a:gd name="T104" fmla="*/ 117958816 w 877"/>
              <a:gd name="T105" fmla="*/ 103164970 h 469"/>
              <a:gd name="T106" fmla="*/ 93046108 w 877"/>
              <a:gd name="T107" fmla="*/ 98704102 h 469"/>
              <a:gd name="T108" fmla="*/ 83986823 w 877"/>
              <a:gd name="T109" fmla="*/ 92848685 h 469"/>
              <a:gd name="T110" fmla="*/ 75116083 w 877"/>
              <a:gd name="T111" fmla="*/ 102886166 h 469"/>
              <a:gd name="T112" fmla="*/ 71719231 w 877"/>
              <a:gd name="T113" fmla="*/ 110135605 h 469"/>
              <a:gd name="T114" fmla="*/ 66623302 w 877"/>
              <a:gd name="T115" fmla="*/ 111529626 h 469"/>
              <a:gd name="T116" fmla="*/ 61904897 w 877"/>
              <a:gd name="T117" fmla="*/ 109299192 h 469"/>
              <a:gd name="T118" fmla="*/ 57752562 w 877"/>
              <a:gd name="T119" fmla="*/ 104837796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02" name="Freeform 350">
            <a:extLst>
              <a:ext uri="{FF2B5EF4-FFF2-40B4-BE49-F238E27FC236}">
                <a16:creationId xmlns:a16="http://schemas.microsoft.com/office/drawing/2014/main" id="{56E2F2F3-E516-4D4B-A31B-A1767A258497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6992025" y="6061707"/>
            <a:ext cx="698742" cy="442875"/>
          </a:xfrm>
          <a:custGeom>
            <a:avLst/>
            <a:gdLst>
              <a:gd name="T0" fmla="*/ 20664623 w 471"/>
              <a:gd name="T1" fmla="*/ 18283462 h 234"/>
              <a:gd name="T2" fmla="*/ 32361713 w 471"/>
              <a:gd name="T3" fmla="*/ 23468129 h 234"/>
              <a:gd name="T4" fmla="*/ 53026778 w 471"/>
              <a:gd name="T5" fmla="*/ 28652796 h 234"/>
              <a:gd name="T6" fmla="*/ 72521780 w 471"/>
              <a:gd name="T7" fmla="*/ 23468129 h 234"/>
              <a:gd name="T8" fmla="*/ 74666306 w 471"/>
              <a:gd name="T9" fmla="*/ 25924381 h 234"/>
              <a:gd name="T10" fmla="*/ 76225800 w 471"/>
              <a:gd name="T11" fmla="*/ 31109049 h 234"/>
              <a:gd name="T12" fmla="*/ 79150072 w 471"/>
              <a:gd name="T13" fmla="*/ 33837986 h 234"/>
              <a:gd name="T14" fmla="*/ 82659376 w 471"/>
              <a:gd name="T15" fmla="*/ 35202454 h 234"/>
              <a:gd name="T16" fmla="*/ 84414028 w 471"/>
              <a:gd name="T17" fmla="*/ 36566923 h 234"/>
              <a:gd name="T18" fmla="*/ 85973522 w 471"/>
              <a:gd name="T19" fmla="*/ 38476761 h 234"/>
              <a:gd name="T20" fmla="*/ 87338300 w 471"/>
              <a:gd name="T21" fmla="*/ 41205698 h 234"/>
              <a:gd name="T22" fmla="*/ 88702637 w 471"/>
              <a:gd name="T23" fmla="*/ 46390366 h 234"/>
              <a:gd name="T24" fmla="*/ 91822067 w 471"/>
              <a:gd name="T25" fmla="*/ 51848240 h 234"/>
              <a:gd name="T26" fmla="*/ 68233171 w 471"/>
              <a:gd name="T27" fmla="*/ 55123069 h 234"/>
              <a:gd name="T28" fmla="*/ 64333994 w 471"/>
              <a:gd name="T29" fmla="*/ 61126313 h 234"/>
              <a:gd name="T30" fmla="*/ 61799595 w 471"/>
              <a:gd name="T31" fmla="*/ 63582566 h 234"/>
              <a:gd name="T32" fmla="*/ 59655070 w 471"/>
              <a:gd name="T33" fmla="*/ 63582566 h 234"/>
              <a:gd name="T34" fmla="*/ 58095576 w 471"/>
              <a:gd name="T35" fmla="*/ 62763467 h 234"/>
              <a:gd name="T36" fmla="*/ 56925955 w 471"/>
              <a:gd name="T37" fmla="*/ 61126313 h 234"/>
              <a:gd name="T38" fmla="*/ 56340924 w 471"/>
              <a:gd name="T39" fmla="*/ 58943268 h 234"/>
              <a:gd name="T40" fmla="*/ 55366019 w 471"/>
              <a:gd name="T41" fmla="*/ 54304493 h 234"/>
              <a:gd name="T42" fmla="*/ 54196398 w 471"/>
              <a:gd name="T43" fmla="*/ 47482150 h 234"/>
              <a:gd name="T44" fmla="*/ 52441747 w 471"/>
              <a:gd name="T45" fmla="*/ 42297482 h 234"/>
              <a:gd name="T46" fmla="*/ 50297221 w 471"/>
              <a:gd name="T47" fmla="*/ 40387122 h 234"/>
              <a:gd name="T48" fmla="*/ 47957980 w 471"/>
              <a:gd name="T49" fmla="*/ 38476761 h 234"/>
              <a:gd name="T50" fmla="*/ 46008612 w 471"/>
              <a:gd name="T51" fmla="*/ 36293716 h 234"/>
              <a:gd name="T52" fmla="*/ 43668929 w 471"/>
              <a:gd name="T53" fmla="*/ 38204076 h 234"/>
              <a:gd name="T54" fmla="*/ 40354783 w 471"/>
              <a:gd name="T55" fmla="*/ 44207320 h 234"/>
              <a:gd name="T56" fmla="*/ 38990447 w 471"/>
              <a:gd name="T57" fmla="*/ 48300726 h 234"/>
              <a:gd name="T58" fmla="*/ 36650764 w 471"/>
              <a:gd name="T59" fmla="*/ 51848240 h 234"/>
              <a:gd name="T60" fmla="*/ 32556871 w 471"/>
              <a:gd name="T61" fmla="*/ 54849862 h 234"/>
              <a:gd name="T62" fmla="*/ 28657693 w 471"/>
              <a:gd name="T63" fmla="*/ 58124691 h 234"/>
              <a:gd name="T64" fmla="*/ 25343547 w 471"/>
              <a:gd name="T65" fmla="*/ 59761845 h 234"/>
              <a:gd name="T66" fmla="*/ 22224559 w 471"/>
              <a:gd name="T67" fmla="*/ 60580421 h 234"/>
              <a:gd name="T68" fmla="*/ 18910413 w 471"/>
              <a:gd name="T69" fmla="*/ 60307737 h 234"/>
              <a:gd name="T70" fmla="*/ 15986140 w 471"/>
              <a:gd name="T71" fmla="*/ 59215953 h 234"/>
              <a:gd name="T72" fmla="*/ 12282121 w 471"/>
              <a:gd name="T73" fmla="*/ 55941646 h 234"/>
              <a:gd name="T74" fmla="*/ 11501932 w 471"/>
              <a:gd name="T75" fmla="*/ 53758601 h 234"/>
              <a:gd name="T76" fmla="*/ 11501932 w 471"/>
              <a:gd name="T77" fmla="*/ 36839608 h 234"/>
              <a:gd name="T78" fmla="*/ 0 w 471"/>
              <a:gd name="T79" fmla="*/ 26742958 h 234"/>
              <a:gd name="T80" fmla="*/ 10332312 w 471"/>
              <a:gd name="T81" fmla="*/ 21830975 h 234"/>
              <a:gd name="T82" fmla="*/ 16765888 w 471"/>
              <a:gd name="T83" fmla="*/ 8186812 h 234"/>
              <a:gd name="T84" fmla="*/ 25928579 w 471"/>
              <a:gd name="T85" fmla="*/ 0 h 234"/>
              <a:gd name="T86" fmla="*/ 32361713 w 471"/>
              <a:gd name="T87" fmla="*/ 11461118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03" name="Freeform 351">
            <a:extLst>
              <a:ext uri="{FF2B5EF4-FFF2-40B4-BE49-F238E27FC236}">
                <a16:creationId xmlns:a16="http://schemas.microsoft.com/office/drawing/2014/main" id="{F9DA6166-2B7E-48BC-ABAF-F5AE9E834943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7157377" y="5802887"/>
            <a:ext cx="757419" cy="454374"/>
          </a:xfrm>
          <a:custGeom>
            <a:avLst/>
            <a:gdLst>
              <a:gd name="T0" fmla="*/ 19542845 w 525"/>
              <a:gd name="T1" fmla="*/ 50097671 h 241"/>
              <a:gd name="T2" fmla="*/ 31895705 w 525"/>
              <a:gd name="T3" fmla="*/ 40077720 h 241"/>
              <a:gd name="T4" fmla="*/ 17146040 w 525"/>
              <a:gd name="T5" fmla="*/ 28433658 h 241"/>
              <a:gd name="T6" fmla="*/ 8665337 w 525"/>
              <a:gd name="T7" fmla="*/ 31683442 h 241"/>
              <a:gd name="T8" fmla="*/ 12168227 w 525"/>
              <a:gd name="T9" fmla="*/ 16518478 h 241"/>
              <a:gd name="T10" fmla="*/ 7374618 w 525"/>
              <a:gd name="T11" fmla="*/ 11644062 h 241"/>
              <a:gd name="T12" fmla="*/ 20649359 w 525"/>
              <a:gd name="T13" fmla="*/ 6770166 h 241"/>
              <a:gd name="T14" fmla="*/ 34292510 w 525"/>
              <a:gd name="T15" fmla="*/ 0 h 241"/>
              <a:gd name="T16" fmla="*/ 57522878 w 525"/>
              <a:gd name="T17" fmla="*/ 5145014 h 241"/>
              <a:gd name="T18" fmla="*/ 80937451 w 525"/>
              <a:gd name="T19" fmla="*/ 6770166 h 241"/>
              <a:gd name="T20" fmla="*/ 96793201 w 525"/>
              <a:gd name="T21" fmla="*/ 14893846 h 241"/>
              <a:gd name="T22" fmla="*/ 95687116 w 525"/>
              <a:gd name="T23" fmla="*/ 18684827 h 241"/>
              <a:gd name="T24" fmla="*/ 94027558 w 525"/>
              <a:gd name="T25" fmla="*/ 22205209 h 241"/>
              <a:gd name="T26" fmla="*/ 91999592 w 525"/>
              <a:gd name="T27" fmla="*/ 24913276 h 241"/>
              <a:gd name="T28" fmla="*/ 89418583 w 525"/>
              <a:gd name="T29" fmla="*/ 26809027 h 241"/>
              <a:gd name="T30" fmla="*/ 81490493 w 525"/>
              <a:gd name="T31" fmla="*/ 27891941 h 241"/>
              <a:gd name="T32" fmla="*/ 77065723 w 525"/>
              <a:gd name="T33" fmla="*/ 28975376 h 241"/>
              <a:gd name="T34" fmla="*/ 75037756 w 525"/>
              <a:gd name="T35" fmla="*/ 30058290 h 241"/>
              <a:gd name="T36" fmla="*/ 73562833 w 525"/>
              <a:gd name="T37" fmla="*/ 31683442 h 241"/>
              <a:gd name="T38" fmla="*/ 71350233 w 525"/>
              <a:gd name="T39" fmla="*/ 36828457 h 241"/>
              <a:gd name="T40" fmla="*/ 69691105 w 525"/>
              <a:gd name="T41" fmla="*/ 39807122 h 241"/>
              <a:gd name="T42" fmla="*/ 67294300 w 525"/>
              <a:gd name="T43" fmla="*/ 41702872 h 241"/>
              <a:gd name="T44" fmla="*/ 56232159 w 525"/>
              <a:gd name="T45" fmla="*/ 44952136 h 241"/>
              <a:gd name="T46" fmla="*/ 50332465 w 525"/>
              <a:gd name="T47" fmla="*/ 46847887 h 241"/>
              <a:gd name="T48" fmla="*/ 47935660 w 525"/>
              <a:gd name="T49" fmla="*/ 48201920 h 241"/>
              <a:gd name="T50" fmla="*/ 48119865 w 525"/>
              <a:gd name="T51" fmla="*/ 51992901 h 241"/>
              <a:gd name="T52" fmla="*/ 48488703 w 525"/>
              <a:gd name="T53" fmla="*/ 54971566 h 241"/>
              <a:gd name="T54" fmla="*/ 50332465 w 525"/>
              <a:gd name="T55" fmla="*/ 60117101 h 241"/>
              <a:gd name="T56" fmla="*/ 40376408 w 525"/>
              <a:gd name="T57" fmla="*/ 61741733 h 241"/>
              <a:gd name="T58" fmla="*/ 20649359 w 525"/>
              <a:gd name="T59" fmla="*/ 63366364 h 241"/>
              <a:gd name="T60" fmla="*/ 3687524 w 525"/>
              <a:gd name="T61" fmla="*/ 60117101 h 241"/>
              <a:gd name="T62" fmla="*/ 9771422 w 525"/>
              <a:gd name="T63" fmla="*/ 44952136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04" name="Freeform 352">
            <a:extLst>
              <a:ext uri="{FF2B5EF4-FFF2-40B4-BE49-F238E27FC236}">
                <a16:creationId xmlns:a16="http://schemas.microsoft.com/office/drawing/2014/main" id="{8B04BEAD-01BB-4B05-88D3-C30AD82A1689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5845571" y="5894614"/>
            <a:ext cx="1152129" cy="822477"/>
          </a:xfrm>
          <a:custGeom>
            <a:avLst/>
            <a:gdLst>
              <a:gd name="T0" fmla="*/ 146914280 w 784"/>
              <a:gd name="T1" fmla="*/ 81384858 h 430"/>
              <a:gd name="T2" fmla="*/ 143662416 w 784"/>
              <a:gd name="T3" fmla="*/ 81663607 h 430"/>
              <a:gd name="T4" fmla="*/ 139836282 w 784"/>
              <a:gd name="T5" fmla="*/ 84171826 h 430"/>
              <a:gd name="T6" fmla="*/ 138305916 w 784"/>
              <a:gd name="T7" fmla="*/ 85844324 h 430"/>
              <a:gd name="T8" fmla="*/ 137158251 w 784"/>
              <a:gd name="T9" fmla="*/ 92533259 h 430"/>
              <a:gd name="T10" fmla="*/ 136393286 w 784"/>
              <a:gd name="T11" fmla="*/ 100337720 h 430"/>
              <a:gd name="T12" fmla="*/ 134671351 w 784"/>
              <a:gd name="T13" fmla="*/ 104797186 h 430"/>
              <a:gd name="T14" fmla="*/ 128358754 w 784"/>
              <a:gd name="T15" fmla="*/ 112043620 h 430"/>
              <a:gd name="T16" fmla="*/ 121089624 w 784"/>
              <a:gd name="T17" fmla="*/ 117060586 h 430"/>
              <a:gd name="T18" fmla="*/ 117072358 w 784"/>
              <a:gd name="T19" fmla="*/ 118175056 h 430"/>
              <a:gd name="T20" fmla="*/ 112290128 w 784"/>
              <a:gd name="T21" fmla="*/ 119568804 h 430"/>
              <a:gd name="T22" fmla="*/ 108463994 w 784"/>
              <a:gd name="T23" fmla="*/ 119290055 h 430"/>
              <a:gd name="T24" fmla="*/ 104255596 w 784"/>
              <a:gd name="T25" fmla="*/ 108141654 h 430"/>
              <a:gd name="T26" fmla="*/ 98516832 w 784"/>
              <a:gd name="T27" fmla="*/ 95878254 h 430"/>
              <a:gd name="T28" fmla="*/ 91438834 w 784"/>
              <a:gd name="T29" fmla="*/ 93090758 h 430"/>
              <a:gd name="T30" fmla="*/ 85700070 w 784"/>
              <a:gd name="T31" fmla="*/ 87795043 h 430"/>
              <a:gd name="T32" fmla="*/ 79769737 w 784"/>
              <a:gd name="T33" fmla="*/ 81942357 h 430"/>
              <a:gd name="T34" fmla="*/ 71352941 w 784"/>
              <a:gd name="T35" fmla="*/ 76367893 h 430"/>
              <a:gd name="T36" fmla="*/ 58536179 w 784"/>
              <a:gd name="T37" fmla="*/ 71908427 h 430"/>
              <a:gd name="T38" fmla="*/ 34815722 w 784"/>
              <a:gd name="T39" fmla="*/ 78876639 h 430"/>
              <a:gd name="T40" fmla="*/ 28885389 w 784"/>
              <a:gd name="T41" fmla="*/ 85286825 h 430"/>
              <a:gd name="T42" fmla="*/ 24294290 w 784"/>
              <a:gd name="T43" fmla="*/ 85844324 h 430"/>
              <a:gd name="T44" fmla="*/ 12625630 w 784"/>
              <a:gd name="T45" fmla="*/ 70236457 h 430"/>
              <a:gd name="T46" fmla="*/ 12625630 w 784"/>
              <a:gd name="T47" fmla="*/ 56858059 h 430"/>
              <a:gd name="T48" fmla="*/ 7651831 w 784"/>
              <a:gd name="T49" fmla="*/ 49889847 h 430"/>
              <a:gd name="T50" fmla="*/ 8034532 w 784"/>
              <a:gd name="T51" fmla="*/ 55464311 h 430"/>
              <a:gd name="T52" fmla="*/ 6886429 w 784"/>
              <a:gd name="T53" fmla="*/ 60760026 h 430"/>
              <a:gd name="T54" fmla="*/ 5738764 w 784"/>
              <a:gd name="T55" fmla="*/ 61596275 h 430"/>
              <a:gd name="T56" fmla="*/ 5930333 w 784"/>
              <a:gd name="T57" fmla="*/ 56579309 h 430"/>
              <a:gd name="T58" fmla="*/ 5164931 w 784"/>
              <a:gd name="T59" fmla="*/ 48496626 h 430"/>
              <a:gd name="T60" fmla="*/ 6312597 w 784"/>
              <a:gd name="T61" fmla="*/ 45430381 h 430"/>
              <a:gd name="T62" fmla="*/ 7651831 w 784"/>
              <a:gd name="T63" fmla="*/ 42364663 h 430"/>
              <a:gd name="T64" fmla="*/ 5164931 w 784"/>
              <a:gd name="T65" fmla="*/ 35954477 h 430"/>
              <a:gd name="T66" fmla="*/ 1339234 w 784"/>
              <a:gd name="T67" fmla="*/ 35118228 h 430"/>
              <a:gd name="T68" fmla="*/ 0 w 784"/>
              <a:gd name="T69" fmla="*/ 32609482 h 430"/>
              <a:gd name="T70" fmla="*/ 573833 w 784"/>
              <a:gd name="T71" fmla="*/ 28986265 h 430"/>
              <a:gd name="T72" fmla="*/ 2104199 w 784"/>
              <a:gd name="T73" fmla="*/ 26199297 h 430"/>
              <a:gd name="T74" fmla="*/ 5164931 w 784"/>
              <a:gd name="T75" fmla="*/ 25641797 h 430"/>
              <a:gd name="T76" fmla="*/ 7842963 w 784"/>
              <a:gd name="T77" fmla="*/ 27593045 h 430"/>
              <a:gd name="T78" fmla="*/ 10903695 w 784"/>
              <a:gd name="T79" fmla="*/ 28986265 h 430"/>
              <a:gd name="T80" fmla="*/ 13581727 w 784"/>
              <a:gd name="T81" fmla="*/ 25641797 h 430"/>
              <a:gd name="T82" fmla="*/ 15877495 w 784"/>
              <a:gd name="T83" fmla="*/ 21461081 h 430"/>
              <a:gd name="T84" fmla="*/ 16642459 w 784"/>
              <a:gd name="T85" fmla="*/ 17837864 h 430"/>
              <a:gd name="T86" fmla="*/ 14920961 w 784"/>
              <a:gd name="T87" fmla="*/ 15329117 h 430"/>
              <a:gd name="T88" fmla="*/ 10520994 w 784"/>
              <a:gd name="T89" fmla="*/ 13657148 h 430"/>
              <a:gd name="T90" fmla="*/ 8991065 w 784"/>
              <a:gd name="T91" fmla="*/ 11148401 h 430"/>
              <a:gd name="T92" fmla="*/ 7842963 w 784"/>
              <a:gd name="T93" fmla="*/ 7803933 h 430"/>
              <a:gd name="T94" fmla="*/ 20468593 w 784"/>
              <a:gd name="T95" fmla="*/ 11984650 h 430"/>
              <a:gd name="T96" fmla="*/ 41893720 w 784"/>
              <a:gd name="T97" fmla="*/ 20624832 h 430"/>
              <a:gd name="T98" fmla="*/ 52223583 w 784"/>
              <a:gd name="T99" fmla="*/ 0 h 430"/>
              <a:gd name="T100" fmla="*/ 71352941 w 784"/>
              <a:gd name="T101" fmla="*/ 11984650 h 430"/>
              <a:gd name="T102" fmla="*/ 88951934 w 784"/>
              <a:gd name="T103" fmla="*/ 25641797 h 430"/>
              <a:gd name="T104" fmla="*/ 113055092 w 784"/>
              <a:gd name="T105" fmla="*/ 58530029 h 430"/>
              <a:gd name="T106" fmla="*/ 138497485 w 784"/>
              <a:gd name="T107" fmla="*/ 73859674 h 430"/>
              <a:gd name="T108" fmla="*/ 148827347 w 784"/>
              <a:gd name="T109" fmla="*/ 8222110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05" name="Freeform 353">
            <a:extLst>
              <a:ext uri="{FF2B5EF4-FFF2-40B4-BE49-F238E27FC236}">
                <a16:creationId xmlns:a16="http://schemas.microsoft.com/office/drawing/2014/main" id="{1F1331F8-D9AF-41E0-900D-E3F6730517AF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3165563" y="5490142"/>
            <a:ext cx="362708" cy="540650"/>
          </a:xfrm>
          <a:custGeom>
            <a:avLst/>
            <a:gdLst>
              <a:gd name="T0" fmla="*/ 5777080 w 246"/>
              <a:gd name="T1" fmla="*/ 7454419 h 284"/>
              <a:gd name="T2" fmla="*/ 5391795 w 246"/>
              <a:gd name="T3" fmla="*/ 6626326 h 284"/>
              <a:gd name="T4" fmla="*/ 4621664 w 246"/>
              <a:gd name="T5" fmla="*/ 4693231 h 284"/>
              <a:gd name="T6" fmla="*/ 6739854 w 246"/>
              <a:gd name="T7" fmla="*/ 1380331 h 284"/>
              <a:gd name="T8" fmla="*/ 12901780 w 246"/>
              <a:gd name="T9" fmla="*/ 275856 h 284"/>
              <a:gd name="T10" fmla="*/ 24262860 w 246"/>
              <a:gd name="T11" fmla="*/ 3312900 h 284"/>
              <a:gd name="T12" fmla="*/ 25226072 w 246"/>
              <a:gd name="T13" fmla="*/ 8282513 h 284"/>
              <a:gd name="T14" fmla="*/ 26766334 w 246"/>
              <a:gd name="T15" fmla="*/ 12699888 h 284"/>
              <a:gd name="T16" fmla="*/ 29077166 w 246"/>
              <a:gd name="T17" fmla="*/ 15736932 h 284"/>
              <a:gd name="T18" fmla="*/ 31772845 w 246"/>
              <a:gd name="T19" fmla="*/ 18497595 h 284"/>
              <a:gd name="T20" fmla="*/ 36779794 w 246"/>
              <a:gd name="T21" fmla="*/ 24019445 h 284"/>
              <a:gd name="T22" fmla="*/ 39090626 w 246"/>
              <a:gd name="T23" fmla="*/ 27884583 h 284"/>
              <a:gd name="T24" fmla="*/ 40823530 w 246"/>
              <a:gd name="T25" fmla="*/ 32301958 h 284"/>
              <a:gd name="T26" fmla="*/ 43519648 w 246"/>
              <a:gd name="T27" fmla="*/ 32301958 h 284"/>
              <a:gd name="T28" fmla="*/ 42556435 w 246"/>
              <a:gd name="T29" fmla="*/ 34235052 h 284"/>
              <a:gd name="T30" fmla="*/ 42556435 w 246"/>
              <a:gd name="T31" fmla="*/ 35615384 h 284"/>
              <a:gd name="T32" fmla="*/ 43904494 w 246"/>
              <a:gd name="T33" fmla="*/ 38652428 h 284"/>
              <a:gd name="T34" fmla="*/ 46022683 w 246"/>
              <a:gd name="T35" fmla="*/ 42517565 h 284"/>
              <a:gd name="T36" fmla="*/ 46985457 w 246"/>
              <a:gd name="T37" fmla="*/ 44725990 h 284"/>
              <a:gd name="T38" fmla="*/ 47370742 w 246"/>
              <a:gd name="T39" fmla="*/ 47763034 h 284"/>
              <a:gd name="T40" fmla="*/ 46407968 w 246"/>
              <a:gd name="T41" fmla="*/ 50800078 h 284"/>
              <a:gd name="T42" fmla="*/ 44867267 w 246"/>
              <a:gd name="T43" fmla="*/ 53009029 h 284"/>
              <a:gd name="T44" fmla="*/ 42941720 w 246"/>
              <a:gd name="T45" fmla="*/ 54665216 h 284"/>
              <a:gd name="T46" fmla="*/ 42364232 w 246"/>
              <a:gd name="T47" fmla="*/ 56321929 h 284"/>
              <a:gd name="T48" fmla="*/ 36394509 w 246"/>
              <a:gd name="T49" fmla="*/ 59358973 h 284"/>
              <a:gd name="T50" fmla="*/ 31580641 w 246"/>
              <a:gd name="T51" fmla="*/ 63499966 h 284"/>
              <a:gd name="T52" fmla="*/ 21759824 w 246"/>
              <a:gd name="T53" fmla="*/ 73163336 h 284"/>
              <a:gd name="T54" fmla="*/ 16945517 w 246"/>
              <a:gd name="T55" fmla="*/ 63776348 h 284"/>
              <a:gd name="T56" fmla="*/ 15212612 w 246"/>
              <a:gd name="T57" fmla="*/ 60739304 h 284"/>
              <a:gd name="T58" fmla="*/ 13864554 w 246"/>
              <a:gd name="T59" fmla="*/ 59634829 h 284"/>
              <a:gd name="T60" fmla="*/ 11553722 w 246"/>
              <a:gd name="T61" fmla="*/ 59911210 h 284"/>
              <a:gd name="T62" fmla="*/ 10398306 w 246"/>
              <a:gd name="T63" fmla="*/ 61015160 h 284"/>
              <a:gd name="T64" fmla="*/ 9435532 w 246"/>
              <a:gd name="T65" fmla="*/ 62947729 h 284"/>
              <a:gd name="T66" fmla="*/ 9242890 w 246"/>
              <a:gd name="T67" fmla="*/ 65156679 h 284"/>
              <a:gd name="T68" fmla="*/ 8665401 w 246"/>
              <a:gd name="T69" fmla="*/ 70954386 h 284"/>
              <a:gd name="T70" fmla="*/ 7895270 w 246"/>
              <a:gd name="T71" fmla="*/ 74543667 h 284"/>
              <a:gd name="T72" fmla="*/ 6354569 w 246"/>
              <a:gd name="T73" fmla="*/ 78408805 h 284"/>
              <a:gd name="T74" fmla="*/ 5006510 w 246"/>
              <a:gd name="T75" fmla="*/ 67089248 h 284"/>
              <a:gd name="T76" fmla="*/ 3273606 w 246"/>
              <a:gd name="T77" fmla="*/ 62671873 h 284"/>
              <a:gd name="T78" fmla="*/ 2118190 w 246"/>
              <a:gd name="T79" fmla="*/ 61015160 h 284"/>
              <a:gd name="T80" fmla="*/ 0 w 246"/>
              <a:gd name="T81" fmla="*/ 59634829 h 284"/>
              <a:gd name="T82" fmla="*/ 192642 w 246"/>
              <a:gd name="T83" fmla="*/ 56321929 h 284"/>
              <a:gd name="T84" fmla="*/ 770131 w 246"/>
              <a:gd name="T85" fmla="*/ 53284885 h 284"/>
              <a:gd name="T86" fmla="*/ 2888321 w 246"/>
              <a:gd name="T87" fmla="*/ 48591128 h 284"/>
              <a:gd name="T88" fmla="*/ 5969284 w 246"/>
              <a:gd name="T89" fmla="*/ 44450134 h 284"/>
              <a:gd name="T90" fmla="*/ 8858043 w 246"/>
              <a:gd name="T91" fmla="*/ 38928284 h 284"/>
              <a:gd name="T92" fmla="*/ 6354569 w 246"/>
              <a:gd name="T93" fmla="*/ 12147651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06" name="Freeform 354">
            <a:extLst>
              <a:ext uri="{FF2B5EF4-FFF2-40B4-BE49-F238E27FC236}">
                <a16:creationId xmlns:a16="http://schemas.microsoft.com/office/drawing/2014/main" id="{86349EC9-9786-42E1-9E55-E0BC4A961E88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3325584" y="5881251"/>
            <a:ext cx="229362" cy="218559"/>
          </a:xfrm>
          <a:custGeom>
            <a:avLst/>
            <a:gdLst>
              <a:gd name="T0" fmla="*/ 20750672 w 160"/>
              <a:gd name="T1" fmla="*/ 0 h 117"/>
              <a:gd name="T2" fmla="*/ 20750672 w 160"/>
              <a:gd name="T3" fmla="*/ 2392376 h 117"/>
              <a:gd name="T4" fmla="*/ 20750672 w 160"/>
              <a:gd name="T5" fmla="*/ 4785268 h 117"/>
              <a:gd name="T6" fmla="*/ 20932849 w 160"/>
              <a:gd name="T7" fmla="*/ 6646062 h 117"/>
              <a:gd name="T8" fmla="*/ 21296776 w 160"/>
              <a:gd name="T9" fmla="*/ 8506856 h 117"/>
              <a:gd name="T10" fmla="*/ 21661130 w 160"/>
              <a:gd name="T11" fmla="*/ 9038438 h 117"/>
              <a:gd name="T12" fmla="*/ 22025057 w 160"/>
              <a:gd name="T13" fmla="*/ 9836069 h 117"/>
              <a:gd name="T14" fmla="*/ 22388984 w 160"/>
              <a:gd name="T15" fmla="*/ 10102117 h 117"/>
              <a:gd name="T16" fmla="*/ 23117265 w 160"/>
              <a:gd name="T17" fmla="*/ 10367650 h 117"/>
              <a:gd name="T18" fmla="*/ 23845119 w 160"/>
              <a:gd name="T19" fmla="*/ 10633699 h 117"/>
              <a:gd name="T20" fmla="*/ 24573400 w 160"/>
              <a:gd name="T21" fmla="*/ 10367650 h 117"/>
              <a:gd name="T22" fmla="*/ 25483431 w 160"/>
              <a:gd name="T23" fmla="*/ 10102117 h 117"/>
              <a:gd name="T24" fmla="*/ 26575639 w 160"/>
              <a:gd name="T25" fmla="*/ 9570535 h 117"/>
              <a:gd name="T26" fmla="*/ 27121743 w 160"/>
              <a:gd name="T27" fmla="*/ 11431330 h 117"/>
              <a:gd name="T28" fmla="*/ 27849597 w 160"/>
              <a:gd name="T29" fmla="*/ 13823706 h 117"/>
              <a:gd name="T30" fmla="*/ 28577878 w 160"/>
              <a:gd name="T31" fmla="*/ 17013712 h 117"/>
              <a:gd name="T32" fmla="*/ 29123982 w 160"/>
              <a:gd name="T33" fmla="*/ 19672137 h 117"/>
              <a:gd name="T34" fmla="*/ 24209473 w 160"/>
              <a:gd name="T35" fmla="*/ 23394241 h 117"/>
              <a:gd name="T36" fmla="*/ 19294537 w 160"/>
              <a:gd name="T37" fmla="*/ 27115830 h 117"/>
              <a:gd name="T38" fmla="*/ 16746194 w 160"/>
              <a:gd name="T39" fmla="*/ 28445042 h 117"/>
              <a:gd name="T40" fmla="*/ 13833924 w 160"/>
              <a:gd name="T41" fmla="*/ 30040303 h 117"/>
              <a:gd name="T42" fmla="*/ 11285580 w 160"/>
              <a:gd name="T43" fmla="*/ 30837418 h 117"/>
              <a:gd name="T44" fmla="*/ 8555060 w 160"/>
              <a:gd name="T45" fmla="*/ 31103467 h 117"/>
              <a:gd name="T46" fmla="*/ 5824967 w 160"/>
              <a:gd name="T47" fmla="*/ 26318199 h 117"/>
              <a:gd name="T48" fmla="*/ 3822728 w 160"/>
              <a:gd name="T49" fmla="*/ 22065029 h 117"/>
              <a:gd name="T50" fmla="*/ 1820062 w 160"/>
              <a:gd name="T51" fmla="*/ 18342925 h 117"/>
              <a:gd name="T52" fmla="*/ 0 w 160"/>
              <a:gd name="T53" fmla="*/ 14621336 h 117"/>
              <a:gd name="T54" fmla="*/ 2366166 w 160"/>
              <a:gd name="T55" fmla="*/ 12760542 h 117"/>
              <a:gd name="T56" fmla="*/ 7462852 w 160"/>
              <a:gd name="T57" fmla="*/ 8506856 h 117"/>
              <a:gd name="T58" fmla="*/ 10921653 w 160"/>
              <a:gd name="T59" fmla="*/ 6114480 h 117"/>
              <a:gd name="T60" fmla="*/ 14197851 w 160"/>
              <a:gd name="T61" fmla="*/ 3721588 h 117"/>
              <a:gd name="T62" fmla="*/ 17656225 w 160"/>
              <a:gd name="T63" fmla="*/ 1595261 h 117"/>
              <a:gd name="T64" fmla="*/ 20750672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07" name="Freeform 437">
            <a:extLst>
              <a:ext uri="{FF2B5EF4-FFF2-40B4-BE49-F238E27FC236}">
                <a16:creationId xmlns:a16="http://schemas.microsoft.com/office/drawing/2014/main" id="{61610A8D-80CD-46AC-B58E-3301AA2C2FF5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1837418" y="5881248"/>
            <a:ext cx="53340" cy="207057"/>
          </a:xfrm>
          <a:custGeom>
            <a:avLst/>
            <a:gdLst>
              <a:gd name="T0" fmla="*/ 3235678 w 45"/>
              <a:gd name="T1" fmla="*/ 0 h 36"/>
              <a:gd name="T2" fmla="*/ 0 w 45"/>
              <a:gd name="T3" fmla="*/ 45362813 h 36"/>
              <a:gd name="T4" fmla="*/ 2862439 w 45"/>
              <a:gd name="T5" fmla="*/ 90725625 h 36"/>
              <a:gd name="T6" fmla="*/ 5600347 w 45"/>
              <a:gd name="T7" fmla="*/ 37803138 h 36"/>
              <a:gd name="T8" fmla="*/ 3235678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08" name="Freeform 442">
            <a:extLst>
              <a:ext uri="{FF2B5EF4-FFF2-40B4-BE49-F238E27FC236}">
                <a16:creationId xmlns:a16="http://schemas.microsoft.com/office/drawing/2014/main" id="{C5B5B370-02BA-4251-AFBD-24DAB7EE9AD8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5242499" y="5918200"/>
            <a:ext cx="416048" cy="396861"/>
          </a:xfrm>
          <a:custGeom>
            <a:avLst/>
            <a:gdLst>
              <a:gd name="T0" fmla="*/ 6500147 w 279"/>
              <a:gd name="T1" fmla="*/ 25083665 h 204"/>
              <a:gd name="T2" fmla="*/ 11621353 w 279"/>
              <a:gd name="T3" fmla="*/ 40940901 h 204"/>
              <a:gd name="T4" fmla="*/ 11621353 w 279"/>
              <a:gd name="T5" fmla="*/ 51608507 h 204"/>
              <a:gd name="T6" fmla="*/ 20091161 w 279"/>
              <a:gd name="T7" fmla="*/ 56509795 h 204"/>
              <a:gd name="T8" fmla="*/ 24030926 w 279"/>
              <a:gd name="T9" fmla="*/ 58239851 h 204"/>
              <a:gd name="T10" fmla="*/ 27379527 w 279"/>
              <a:gd name="T11" fmla="*/ 58816536 h 204"/>
              <a:gd name="T12" fmla="*/ 28758023 w 279"/>
              <a:gd name="T13" fmla="*/ 57951508 h 204"/>
              <a:gd name="T14" fmla="*/ 29742854 w 279"/>
              <a:gd name="T15" fmla="*/ 55933110 h 204"/>
              <a:gd name="T16" fmla="*/ 31515903 w 279"/>
              <a:gd name="T17" fmla="*/ 49590645 h 204"/>
              <a:gd name="T18" fmla="*/ 33879674 w 279"/>
              <a:gd name="T19" fmla="*/ 42959300 h 204"/>
              <a:gd name="T20" fmla="*/ 35652280 w 279"/>
              <a:gd name="T21" fmla="*/ 40652559 h 204"/>
              <a:gd name="T22" fmla="*/ 37818995 w 279"/>
              <a:gd name="T23" fmla="*/ 39210845 h 204"/>
              <a:gd name="T24" fmla="*/ 41167596 w 279"/>
              <a:gd name="T25" fmla="*/ 39787531 h 204"/>
              <a:gd name="T26" fmla="*/ 43334312 w 279"/>
              <a:gd name="T27" fmla="*/ 40940901 h 204"/>
              <a:gd name="T28" fmla="*/ 44909863 w 279"/>
              <a:gd name="T29" fmla="*/ 42670957 h 204"/>
              <a:gd name="T30" fmla="*/ 45501027 w 279"/>
              <a:gd name="T31" fmla="*/ 44400477 h 204"/>
              <a:gd name="T32" fmla="*/ 46091748 w 279"/>
              <a:gd name="T33" fmla="*/ 47283903 h 204"/>
              <a:gd name="T34" fmla="*/ 45501027 w 279"/>
              <a:gd name="T35" fmla="*/ 48148931 h 204"/>
              <a:gd name="T36" fmla="*/ 46091748 w 279"/>
              <a:gd name="T37" fmla="*/ 44112671 h 204"/>
              <a:gd name="T38" fmla="*/ 46879524 w 279"/>
              <a:gd name="T39" fmla="*/ 40364216 h 204"/>
              <a:gd name="T40" fmla="*/ 48258464 w 279"/>
              <a:gd name="T41" fmla="*/ 33732871 h 204"/>
              <a:gd name="T42" fmla="*/ 50031513 w 279"/>
              <a:gd name="T43" fmla="*/ 33156186 h 204"/>
              <a:gd name="T44" fmla="*/ 52001174 w 279"/>
              <a:gd name="T45" fmla="*/ 31715010 h 204"/>
              <a:gd name="T46" fmla="*/ 54955665 w 279"/>
              <a:gd name="T47" fmla="*/ 28543240 h 204"/>
              <a:gd name="T48" fmla="*/ 49637404 w 279"/>
              <a:gd name="T49" fmla="*/ 21623553 h 204"/>
              <a:gd name="T50" fmla="*/ 44713252 w 279"/>
              <a:gd name="T51" fmla="*/ 16722264 h 204"/>
              <a:gd name="T52" fmla="*/ 40182766 w 279"/>
              <a:gd name="T53" fmla="*/ 12686004 h 204"/>
              <a:gd name="T54" fmla="*/ 36440055 w 279"/>
              <a:gd name="T55" fmla="*/ 8937549 h 204"/>
              <a:gd name="T56" fmla="*/ 28758023 w 279"/>
              <a:gd name="T57" fmla="*/ 19605691 h 204"/>
              <a:gd name="T58" fmla="*/ 15561119 w 279"/>
              <a:gd name="T59" fmla="*/ 7208030 h 204"/>
              <a:gd name="T60" fmla="*/ 10242413 w 279"/>
              <a:gd name="T61" fmla="*/ 3459575 h 204"/>
              <a:gd name="T62" fmla="*/ 9060972 w 279"/>
              <a:gd name="T63" fmla="*/ 17875635 h 204"/>
              <a:gd name="T64" fmla="*/ 0 w 279"/>
              <a:gd name="T65" fmla="*/ 1614557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09" name="Freeform 443">
            <a:extLst>
              <a:ext uri="{FF2B5EF4-FFF2-40B4-BE49-F238E27FC236}">
                <a16:creationId xmlns:a16="http://schemas.microsoft.com/office/drawing/2014/main" id="{90240A3A-CD84-48C0-A12C-EE9C22B6A666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3437593" y="4380083"/>
            <a:ext cx="704078" cy="546401"/>
          </a:xfrm>
          <a:custGeom>
            <a:avLst/>
            <a:gdLst>
              <a:gd name="T0" fmla="*/ 47042895 w 485"/>
              <a:gd name="T1" fmla="*/ 5371706 h 291"/>
              <a:gd name="T2" fmla="*/ 56003426 w 485"/>
              <a:gd name="T3" fmla="*/ 11817753 h 291"/>
              <a:gd name="T4" fmla="*/ 69444006 w 485"/>
              <a:gd name="T5" fmla="*/ 11817753 h 291"/>
              <a:gd name="T6" fmla="*/ 79337790 w 485"/>
              <a:gd name="T7" fmla="*/ 35184802 h 291"/>
              <a:gd name="T8" fmla="*/ 90538562 w 485"/>
              <a:gd name="T9" fmla="*/ 44853873 h 291"/>
              <a:gd name="T10" fmla="*/ 76910899 w 485"/>
              <a:gd name="T11" fmla="*/ 46465644 h 291"/>
              <a:gd name="T12" fmla="*/ 80831428 w 485"/>
              <a:gd name="T13" fmla="*/ 56403170 h 291"/>
              <a:gd name="T14" fmla="*/ 73177452 w 485"/>
              <a:gd name="T15" fmla="*/ 64729443 h 291"/>
              <a:gd name="T16" fmla="*/ 71870897 w 485"/>
              <a:gd name="T17" fmla="*/ 78158967 h 291"/>
              <a:gd name="T18" fmla="*/ 53203233 w 485"/>
              <a:gd name="T19" fmla="*/ 71444464 h 291"/>
              <a:gd name="T20" fmla="*/ 32295328 w 485"/>
              <a:gd name="T21" fmla="*/ 68221441 h 291"/>
              <a:gd name="T22" fmla="*/ 11200772 w 485"/>
              <a:gd name="T23" fmla="*/ 71444464 h 291"/>
              <a:gd name="T24" fmla="*/ 2800193 w 485"/>
              <a:gd name="T25" fmla="*/ 72787261 h 291"/>
              <a:gd name="T26" fmla="*/ 1493206 w 485"/>
              <a:gd name="T27" fmla="*/ 69026808 h 291"/>
              <a:gd name="T28" fmla="*/ 559952 w 485"/>
              <a:gd name="T29" fmla="*/ 65535329 h 291"/>
              <a:gd name="T30" fmla="*/ 0 w 485"/>
              <a:gd name="T31" fmla="*/ 61506420 h 291"/>
              <a:gd name="T32" fmla="*/ 933254 w 485"/>
              <a:gd name="T33" fmla="*/ 58820826 h 291"/>
              <a:gd name="T34" fmla="*/ 2613542 w 485"/>
              <a:gd name="T35" fmla="*/ 55597803 h 291"/>
              <a:gd name="T36" fmla="*/ 4293399 w 485"/>
              <a:gd name="T37" fmla="*/ 50763008 h 291"/>
              <a:gd name="T38" fmla="*/ 5787036 w 485"/>
              <a:gd name="T39" fmla="*/ 44585417 h 291"/>
              <a:gd name="T40" fmla="*/ 7653976 w 485"/>
              <a:gd name="T41" fmla="*/ 36796573 h 291"/>
              <a:gd name="T42" fmla="*/ 8960531 w 485"/>
              <a:gd name="T43" fmla="*/ 33842005 h 291"/>
              <a:gd name="T44" fmla="*/ 11200772 w 485"/>
              <a:gd name="T45" fmla="*/ 31961779 h 291"/>
              <a:gd name="T46" fmla="*/ 16240773 w 485"/>
              <a:gd name="T47" fmla="*/ 29813097 h 291"/>
              <a:gd name="T48" fmla="*/ 16614507 w 485"/>
              <a:gd name="T49" fmla="*/ 28470300 h 291"/>
              <a:gd name="T50" fmla="*/ 17547760 w 485"/>
              <a:gd name="T51" fmla="*/ 26858529 h 291"/>
              <a:gd name="T52" fmla="*/ 18854315 w 485"/>
              <a:gd name="T53" fmla="*/ 25515732 h 291"/>
              <a:gd name="T54" fmla="*/ 19788001 w 485"/>
              <a:gd name="T55" fmla="*/ 24978821 h 291"/>
              <a:gd name="T56" fmla="*/ 19788001 w 485"/>
              <a:gd name="T57" fmla="*/ 20412482 h 291"/>
              <a:gd name="T58" fmla="*/ 20347953 w 485"/>
              <a:gd name="T59" fmla="*/ 18801229 h 291"/>
              <a:gd name="T60" fmla="*/ 21094556 w 485"/>
              <a:gd name="T61" fmla="*/ 17995344 h 291"/>
              <a:gd name="T62" fmla="*/ 22774845 w 485"/>
              <a:gd name="T63" fmla="*/ 18532774 h 291"/>
              <a:gd name="T64" fmla="*/ 23894749 w 485"/>
              <a:gd name="T65" fmla="*/ 18532774 h 291"/>
              <a:gd name="T66" fmla="*/ 24641352 w 485"/>
              <a:gd name="T67" fmla="*/ 17726888 h 291"/>
              <a:gd name="T68" fmla="*/ 25014653 w 485"/>
              <a:gd name="T69" fmla="*/ 15040776 h 291"/>
              <a:gd name="T70" fmla="*/ 25948339 w 485"/>
              <a:gd name="T71" fmla="*/ 11817753 h 291"/>
              <a:gd name="T72" fmla="*/ 26881592 w 485"/>
              <a:gd name="T73" fmla="*/ 10474956 h 291"/>
              <a:gd name="T74" fmla="*/ 39762221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10" name="Freeform 444">
            <a:extLst>
              <a:ext uri="{FF2B5EF4-FFF2-40B4-BE49-F238E27FC236}">
                <a16:creationId xmlns:a16="http://schemas.microsoft.com/office/drawing/2014/main" id="{D8FB6B41-CF77-4A2F-97BB-6C9D4685BF6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2957540" y="5582168"/>
            <a:ext cx="277364" cy="316340"/>
          </a:xfrm>
          <a:custGeom>
            <a:avLst/>
            <a:gdLst>
              <a:gd name="T0" fmla="*/ 16939615 w 186"/>
              <a:gd name="T1" fmla="*/ 40668397 h 166"/>
              <a:gd name="T2" fmla="*/ 16348894 w 186"/>
              <a:gd name="T3" fmla="*/ 37625591 h 166"/>
              <a:gd name="T4" fmla="*/ 15364064 w 186"/>
              <a:gd name="T5" fmla="*/ 35135593 h 166"/>
              <a:gd name="T6" fmla="*/ 14575845 w 186"/>
              <a:gd name="T7" fmla="*/ 32645594 h 166"/>
              <a:gd name="T8" fmla="*/ 13788069 w 186"/>
              <a:gd name="T9" fmla="*/ 30432262 h 166"/>
              <a:gd name="T10" fmla="*/ 11818408 w 186"/>
              <a:gd name="T11" fmla="*/ 26282265 h 166"/>
              <a:gd name="T12" fmla="*/ 9651693 w 186"/>
              <a:gd name="T13" fmla="*/ 22686127 h 166"/>
              <a:gd name="T14" fmla="*/ 7287922 w 186"/>
              <a:gd name="T15" fmla="*/ 19366129 h 166"/>
              <a:gd name="T16" fmla="*/ 4924152 w 186"/>
              <a:gd name="T17" fmla="*/ 15492798 h 166"/>
              <a:gd name="T18" fmla="*/ 2560825 w 186"/>
              <a:gd name="T19" fmla="*/ 10512801 h 166"/>
              <a:gd name="T20" fmla="*/ 0 w 186"/>
              <a:gd name="T21" fmla="*/ 4979997 h 166"/>
              <a:gd name="T22" fmla="*/ 0 w 186"/>
              <a:gd name="T23" fmla="*/ 0 h 166"/>
              <a:gd name="T24" fmla="*/ 1378940 w 186"/>
              <a:gd name="T25" fmla="*/ 553333 h 166"/>
              <a:gd name="T26" fmla="*/ 2757436 w 186"/>
              <a:gd name="T27" fmla="*/ 829999 h 166"/>
              <a:gd name="T28" fmla="*/ 3939322 w 186"/>
              <a:gd name="T29" fmla="*/ 1106666 h 166"/>
              <a:gd name="T30" fmla="*/ 5318262 w 186"/>
              <a:gd name="T31" fmla="*/ 1106666 h 166"/>
              <a:gd name="T32" fmla="*/ 6500147 w 186"/>
              <a:gd name="T33" fmla="*/ 1106666 h 166"/>
              <a:gd name="T34" fmla="*/ 7879087 w 186"/>
              <a:gd name="T35" fmla="*/ 829999 h 166"/>
              <a:gd name="T36" fmla="*/ 9257583 w 186"/>
              <a:gd name="T37" fmla="*/ 553333 h 166"/>
              <a:gd name="T38" fmla="*/ 10439468 w 186"/>
              <a:gd name="T39" fmla="*/ 0 h 166"/>
              <a:gd name="T40" fmla="*/ 27576138 w 186"/>
              <a:gd name="T41" fmla="*/ 3319998 h 166"/>
              <a:gd name="T42" fmla="*/ 36637110 w 186"/>
              <a:gd name="T43" fmla="*/ 25175599 h 166"/>
              <a:gd name="T44" fmla="*/ 33682619 w 186"/>
              <a:gd name="T45" fmla="*/ 30985595 h 166"/>
              <a:gd name="T46" fmla="*/ 30531073 w 186"/>
              <a:gd name="T47" fmla="*/ 35688926 h 166"/>
              <a:gd name="T48" fmla="*/ 29349188 w 186"/>
              <a:gd name="T49" fmla="*/ 37902258 h 166"/>
              <a:gd name="T50" fmla="*/ 28364358 w 186"/>
              <a:gd name="T51" fmla="*/ 40115064 h 166"/>
              <a:gd name="T52" fmla="*/ 27970248 w 186"/>
              <a:gd name="T53" fmla="*/ 41498396 h 166"/>
              <a:gd name="T54" fmla="*/ 27773193 w 186"/>
              <a:gd name="T55" fmla="*/ 43158395 h 166"/>
              <a:gd name="T56" fmla="*/ 27576138 w 186"/>
              <a:gd name="T57" fmla="*/ 44541728 h 166"/>
              <a:gd name="T58" fmla="*/ 27576138 w 186"/>
              <a:gd name="T59" fmla="*/ 45925060 h 166"/>
              <a:gd name="T60" fmla="*/ 16939615 w 186"/>
              <a:gd name="T61" fmla="*/ 4066839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11" name="Freeform 446">
            <a:extLst>
              <a:ext uri="{FF2B5EF4-FFF2-40B4-BE49-F238E27FC236}">
                <a16:creationId xmlns:a16="http://schemas.microsoft.com/office/drawing/2014/main" id="{38B40FF4-1272-4CF7-95CA-B7EECF1CC351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3490933" y="5708698"/>
            <a:ext cx="448052" cy="350849"/>
          </a:xfrm>
          <a:custGeom>
            <a:avLst/>
            <a:gdLst>
              <a:gd name="T0" fmla="*/ 14524002 w 311"/>
              <a:gd name="T1" fmla="*/ 11121763 h 179"/>
              <a:gd name="T2" fmla="*/ 21142621 w 311"/>
              <a:gd name="T3" fmla="*/ 7609627 h 179"/>
              <a:gd name="T4" fmla="*/ 27209832 w 311"/>
              <a:gd name="T5" fmla="*/ 4097492 h 179"/>
              <a:gd name="T6" fmla="*/ 32725634 w 311"/>
              <a:gd name="T7" fmla="*/ 1170712 h 179"/>
              <a:gd name="T8" fmla="*/ 38792415 w 311"/>
              <a:gd name="T9" fmla="*/ 0 h 179"/>
              <a:gd name="T10" fmla="*/ 43388917 w 311"/>
              <a:gd name="T11" fmla="*/ 585356 h 179"/>
              <a:gd name="T12" fmla="*/ 47065690 w 311"/>
              <a:gd name="T13" fmla="*/ 1756068 h 179"/>
              <a:gd name="T14" fmla="*/ 53684309 w 311"/>
              <a:gd name="T15" fmla="*/ 3512136 h 179"/>
              <a:gd name="T16" fmla="*/ 52765009 w 311"/>
              <a:gd name="T17" fmla="*/ 8194983 h 179"/>
              <a:gd name="T18" fmla="*/ 51110354 w 311"/>
              <a:gd name="T19" fmla="*/ 12292475 h 179"/>
              <a:gd name="T20" fmla="*/ 49455699 w 311"/>
              <a:gd name="T21" fmla="*/ 15511933 h 179"/>
              <a:gd name="T22" fmla="*/ 48720344 w 311"/>
              <a:gd name="T23" fmla="*/ 18146035 h 179"/>
              <a:gd name="T24" fmla="*/ 48904290 w 311"/>
              <a:gd name="T25" fmla="*/ 19316747 h 179"/>
              <a:gd name="T26" fmla="*/ 49823591 w 311"/>
              <a:gd name="T27" fmla="*/ 20780136 h 179"/>
              <a:gd name="T28" fmla="*/ 52397546 w 311"/>
              <a:gd name="T29" fmla="*/ 23121560 h 179"/>
              <a:gd name="T30" fmla="*/ 57177564 w 311"/>
              <a:gd name="T31" fmla="*/ 27218511 h 179"/>
              <a:gd name="T32" fmla="*/ 52765009 w 311"/>
              <a:gd name="T33" fmla="*/ 31316003 h 179"/>
              <a:gd name="T34" fmla="*/ 51662191 w 311"/>
              <a:gd name="T35" fmla="*/ 33657426 h 179"/>
              <a:gd name="T36" fmla="*/ 51110354 w 311"/>
              <a:gd name="T37" fmla="*/ 37754918 h 179"/>
              <a:gd name="T38" fmla="*/ 46330335 w 311"/>
              <a:gd name="T39" fmla="*/ 39803664 h 179"/>
              <a:gd name="T40" fmla="*/ 38792415 w 311"/>
              <a:gd name="T41" fmla="*/ 43315800 h 179"/>
              <a:gd name="T42" fmla="*/ 35115643 w 311"/>
              <a:gd name="T43" fmla="*/ 49169359 h 179"/>
              <a:gd name="T44" fmla="*/ 32725634 w 311"/>
              <a:gd name="T45" fmla="*/ 51510783 h 179"/>
              <a:gd name="T46" fmla="*/ 30335195 w 311"/>
              <a:gd name="T47" fmla="*/ 52388817 h 179"/>
              <a:gd name="T48" fmla="*/ 27761240 w 311"/>
              <a:gd name="T49" fmla="*/ 51218105 h 179"/>
              <a:gd name="T50" fmla="*/ 25187714 w 311"/>
              <a:gd name="T51" fmla="*/ 48876681 h 179"/>
              <a:gd name="T52" fmla="*/ 22061921 w 311"/>
              <a:gd name="T53" fmla="*/ 46242579 h 179"/>
              <a:gd name="T54" fmla="*/ 18017257 w 311"/>
              <a:gd name="T55" fmla="*/ 45364546 h 179"/>
              <a:gd name="T56" fmla="*/ 12133992 w 311"/>
              <a:gd name="T57" fmla="*/ 45364546 h 179"/>
              <a:gd name="T58" fmla="*/ 9376520 w 311"/>
              <a:gd name="T59" fmla="*/ 45949901 h 179"/>
              <a:gd name="T60" fmla="*/ 7170028 w 311"/>
              <a:gd name="T61" fmla="*/ 47120613 h 179"/>
              <a:gd name="T62" fmla="*/ 6618619 w 311"/>
              <a:gd name="T63" fmla="*/ 41559732 h 179"/>
              <a:gd name="T64" fmla="*/ 5883265 w 311"/>
              <a:gd name="T65" fmla="*/ 35998850 h 179"/>
              <a:gd name="T66" fmla="*/ 3860718 w 311"/>
              <a:gd name="T67" fmla="*/ 37462240 h 179"/>
              <a:gd name="T68" fmla="*/ 2390009 w 311"/>
              <a:gd name="T69" fmla="*/ 37754918 h 179"/>
              <a:gd name="T70" fmla="*/ 1286763 w 311"/>
              <a:gd name="T71" fmla="*/ 36876884 h 179"/>
              <a:gd name="T72" fmla="*/ 551409 w 311"/>
              <a:gd name="T73" fmla="*/ 35413494 h 179"/>
              <a:gd name="T74" fmla="*/ 0 w 311"/>
              <a:gd name="T75" fmla="*/ 30730647 h 179"/>
              <a:gd name="T76" fmla="*/ 0 w 311"/>
              <a:gd name="T77" fmla="*/ 25462984 h 179"/>
              <a:gd name="T78" fmla="*/ 551409 w 311"/>
              <a:gd name="T79" fmla="*/ 23999594 h 179"/>
              <a:gd name="T80" fmla="*/ 2390009 w 311"/>
              <a:gd name="T81" fmla="*/ 22828882 h 179"/>
              <a:gd name="T82" fmla="*/ 3860718 w 311"/>
              <a:gd name="T83" fmla="*/ 21072814 h 179"/>
              <a:gd name="T84" fmla="*/ 4596073 w 311"/>
              <a:gd name="T85" fmla="*/ 19902102 h 179"/>
              <a:gd name="T86" fmla="*/ 4780019 w 311"/>
              <a:gd name="T87" fmla="*/ 18146035 h 179"/>
              <a:gd name="T88" fmla="*/ 4412556 w 311"/>
              <a:gd name="T89" fmla="*/ 14926577 h 179"/>
              <a:gd name="T90" fmla="*/ 3493255 w 311"/>
              <a:gd name="T91" fmla="*/ 12585153 h 179"/>
              <a:gd name="T92" fmla="*/ 1470709 w 311"/>
              <a:gd name="T93" fmla="*/ 8487661 h 179"/>
              <a:gd name="T94" fmla="*/ 183946 w 311"/>
              <a:gd name="T95" fmla="*/ 5268204 h 179"/>
              <a:gd name="T96" fmla="*/ 183946 w 311"/>
              <a:gd name="T97" fmla="*/ 3804814 h 179"/>
              <a:gd name="T98" fmla="*/ 1103246 w 311"/>
              <a:gd name="T99" fmla="*/ 1756068 h 179"/>
              <a:gd name="T100" fmla="*/ 0 w 311"/>
              <a:gd name="T101" fmla="*/ 1756068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12" name="Freeform 452">
            <a:extLst>
              <a:ext uri="{FF2B5EF4-FFF2-40B4-BE49-F238E27FC236}">
                <a16:creationId xmlns:a16="http://schemas.microsoft.com/office/drawing/2014/main" id="{B15EEF78-50F1-4494-8FD7-41AD92CF8198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2797521" y="5449877"/>
            <a:ext cx="426714" cy="414114"/>
          </a:xfrm>
          <a:custGeom>
            <a:avLst/>
            <a:gdLst>
              <a:gd name="T0" fmla="*/ 48993729 w 292"/>
              <a:gd name="T1" fmla="*/ 24432522 h 223"/>
              <a:gd name="T2" fmla="*/ 31401620 w 292"/>
              <a:gd name="T3" fmla="*/ 20229050 h 223"/>
              <a:gd name="T4" fmla="*/ 28753322 w 292"/>
              <a:gd name="T5" fmla="*/ 20754420 h 223"/>
              <a:gd name="T6" fmla="*/ 26293784 w 292"/>
              <a:gd name="T7" fmla="*/ 20754420 h 223"/>
              <a:gd name="T8" fmla="*/ 23834682 w 292"/>
              <a:gd name="T9" fmla="*/ 20229050 h 223"/>
              <a:gd name="T10" fmla="*/ 22510750 w 292"/>
              <a:gd name="T11" fmla="*/ 24432522 h 223"/>
              <a:gd name="T12" fmla="*/ 27239760 w 292"/>
              <a:gd name="T13" fmla="*/ 34415576 h 223"/>
              <a:gd name="T14" fmla="*/ 31779575 w 292"/>
              <a:gd name="T15" fmla="*/ 41245898 h 223"/>
              <a:gd name="T16" fmla="*/ 35752240 w 292"/>
              <a:gd name="T17" fmla="*/ 48602103 h 223"/>
              <a:gd name="T18" fmla="*/ 37265801 w 292"/>
              <a:gd name="T19" fmla="*/ 53068004 h 223"/>
              <a:gd name="T20" fmla="*/ 38778928 w 292"/>
              <a:gd name="T21" fmla="*/ 58322216 h 223"/>
              <a:gd name="T22" fmla="*/ 33103942 w 292"/>
              <a:gd name="T23" fmla="*/ 58585157 h 223"/>
              <a:gd name="T24" fmla="*/ 30455644 w 292"/>
              <a:gd name="T25" fmla="*/ 58322216 h 223"/>
              <a:gd name="T26" fmla="*/ 27618151 w 292"/>
              <a:gd name="T27" fmla="*/ 56746106 h 223"/>
              <a:gd name="T28" fmla="*/ 25348243 w 292"/>
              <a:gd name="T29" fmla="*/ 54907055 h 223"/>
              <a:gd name="T30" fmla="*/ 24023877 w 292"/>
              <a:gd name="T31" fmla="*/ 52017264 h 223"/>
              <a:gd name="T32" fmla="*/ 22889140 w 292"/>
              <a:gd name="T33" fmla="*/ 49127473 h 223"/>
              <a:gd name="T34" fmla="*/ 21375579 w 292"/>
              <a:gd name="T35" fmla="*/ 47288422 h 223"/>
              <a:gd name="T36" fmla="*/ 17214154 w 292"/>
              <a:gd name="T37" fmla="*/ 38093678 h 223"/>
              <a:gd name="T38" fmla="*/ 12863099 w 292"/>
              <a:gd name="T39" fmla="*/ 29686734 h 223"/>
              <a:gd name="T40" fmla="*/ 10403997 w 292"/>
              <a:gd name="T41" fmla="*/ 26008632 h 223"/>
              <a:gd name="T42" fmla="*/ 7944894 w 292"/>
              <a:gd name="T43" fmla="*/ 22855900 h 223"/>
              <a:gd name="T44" fmla="*/ 5107401 w 292"/>
              <a:gd name="T45" fmla="*/ 20754420 h 223"/>
              <a:gd name="T46" fmla="*/ 2459103 w 292"/>
              <a:gd name="T47" fmla="*/ 19703680 h 223"/>
              <a:gd name="T48" fmla="*/ 756781 w 292"/>
              <a:gd name="T49" fmla="*/ 17076317 h 223"/>
              <a:gd name="T50" fmla="*/ 189195 w 292"/>
              <a:gd name="T51" fmla="*/ 15237266 h 223"/>
              <a:gd name="T52" fmla="*/ 0 w 292"/>
              <a:gd name="T53" fmla="*/ 12872845 h 223"/>
              <a:gd name="T54" fmla="*/ 7566503 w 292"/>
              <a:gd name="T55" fmla="*/ 14449468 h 223"/>
              <a:gd name="T56" fmla="*/ 13241490 w 292"/>
              <a:gd name="T57" fmla="*/ 14449468 h 223"/>
              <a:gd name="T58" fmla="*/ 17214154 w 292"/>
              <a:gd name="T59" fmla="*/ 13135787 h 223"/>
              <a:gd name="T60" fmla="*/ 20051647 w 292"/>
              <a:gd name="T61" fmla="*/ 10771365 h 223"/>
              <a:gd name="T62" fmla="*/ 24023877 w 292"/>
              <a:gd name="T63" fmla="*/ 5254212 h 223"/>
              <a:gd name="T64" fmla="*/ 26105024 w 292"/>
              <a:gd name="T65" fmla="*/ 2364421 h 223"/>
              <a:gd name="T66" fmla="*/ 28753322 w 292"/>
              <a:gd name="T67" fmla="*/ 0 h 223"/>
              <a:gd name="T68" fmla="*/ 32536356 w 292"/>
              <a:gd name="T69" fmla="*/ 3678102 h 223"/>
              <a:gd name="T70" fmla="*/ 36698216 w 292"/>
              <a:gd name="T71" fmla="*/ 6830322 h 223"/>
              <a:gd name="T72" fmla="*/ 41238031 w 292"/>
              <a:gd name="T73" fmla="*/ 8932314 h 223"/>
              <a:gd name="T74" fmla="*/ 46534627 w 292"/>
              <a:gd name="T75" fmla="*/ 9720626 h 223"/>
              <a:gd name="T76" fmla="*/ 49561315 w 292"/>
              <a:gd name="T77" fmla="*/ 8932314 h 223"/>
              <a:gd name="T78" fmla="*/ 52777199 w 292"/>
              <a:gd name="T79" fmla="*/ 8144003 h 223"/>
              <a:gd name="T80" fmla="*/ 53911935 w 292"/>
              <a:gd name="T81" fmla="*/ 12347475 h 223"/>
              <a:gd name="T82" fmla="*/ 54290325 w 292"/>
              <a:gd name="T83" fmla="*/ 12872845 h 223"/>
              <a:gd name="T84" fmla="*/ 55236301 w 292"/>
              <a:gd name="T85" fmla="*/ 1812705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13" name="Freeform 453">
            <a:extLst>
              <a:ext uri="{FF2B5EF4-FFF2-40B4-BE49-F238E27FC236}">
                <a16:creationId xmlns:a16="http://schemas.microsoft.com/office/drawing/2014/main" id="{FBC8A21C-27E7-41C1-8540-953A98B304F8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2632174" y="4937986"/>
            <a:ext cx="565397" cy="281831"/>
          </a:xfrm>
          <a:custGeom>
            <a:avLst/>
            <a:gdLst>
              <a:gd name="T0" fmla="*/ 73925117 w 379"/>
              <a:gd name="T1" fmla="*/ 26321978 h 147"/>
              <a:gd name="T2" fmla="*/ 70968094 w 379"/>
              <a:gd name="T3" fmla="*/ 28282023 h 147"/>
              <a:gd name="T4" fmla="*/ 69785285 w 379"/>
              <a:gd name="T5" fmla="*/ 30242069 h 147"/>
              <a:gd name="T6" fmla="*/ 68405341 w 379"/>
              <a:gd name="T7" fmla="*/ 32762506 h 147"/>
              <a:gd name="T8" fmla="*/ 65645454 w 379"/>
              <a:gd name="T9" fmla="*/ 35562874 h 147"/>
              <a:gd name="T10" fmla="*/ 63082701 w 379"/>
              <a:gd name="T11" fmla="*/ 36682598 h 147"/>
              <a:gd name="T12" fmla="*/ 61308488 w 379"/>
              <a:gd name="T13" fmla="*/ 36962529 h 147"/>
              <a:gd name="T14" fmla="*/ 59337139 w 379"/>
              <a:gd name="T15" fmla="*/ 36402667 h 147"/>
              <a:gd name="T16" fmla="*/ 57365791 w 379"/>
              <a:gd name="T17" fmla="*/ 35282414 h 147"/>
              <a:gd name="T18" fmla="*/ 55394443 w 379"/>
              <a:gd name="T19" fmla="*/ 33322368 h 147"/>
              <a:gd name="T20" fmla="*/ 54211634 w 379"/>
              <a:gd name="T21" fmla="*/ 32482575 h 147"/>
              <a:gd name="T22" fmla="*/ 53028825 w 379"/>
              <a:gd name="T23" fmla="*/ 33042437 h 147"/>
              <a:gd name="T24" fmla="*/ 52634555 w 379"/>
              <a:gd name="T25" fmla="*/ 34442621 h 147"/>
              <a:gd name="T26" fmla="*/ 52437420 w 379"/>
              <a:gd name="T27" fmla="*/ 39203035 h 147"/>
              <a:gd name="T28" fmla="*/ 50663207 w 379"/>
              <a:gd name="T29" fmla="*/ 40603219 h 147"/>
              <a:gd name="T30" fmla="*/ 48100454 w 379"/>
              <a:gd name="T31" fmla="*/ 39203035 h 147"/>
              <a:gd name="T32" fmla="*/ 45143432 w 379"/>
              <a:gd name="T33" fmla="*/ 36682598 h 147"/>
              <a:gd name="T34" fmla="*/ 22276236 w 379"/>
              <a:gd name="T35" fmla="*/ 39482966 h 147"/>
              <a:gd name="T36" fmla="*/ 15770786 w 379"/>
              <a:gd name="T37" fmla="*/ 34722552 h 147"/>
              <a:gd name="T38" fmla="*/ 11433820 w 379"/>
              <a:gd name="T39" fmla="*/ 30522530 h 147"/>
              <a:gd name="T40" fmla="*/ 8871067 w 379"/>
              <a:gd name="T41" fmla="*/ 26321978 h 147"/>
              <a:gd name="T42" fmla="*/ 7293989 w 379"/>
              <a:gd name="T43" fmla="*/ 22961748 h 147"/>
              <a:gd name="T44" fmla="*/ 5125506 w 379"/>
              <a:gd name="T45" fmla="*/ 16521219 h 147"/>
              <a:gd name="T46" fmla="*/ 3154157 w 379"/>
              <a:gd name="T47" fmla="*/ 13440920 h 147"/>
              <a:gd name="T48" fmla="*/ 0 w 379"/>
              <a:gd name="T49" fmla="*/ 10080690 h 147"/>
              <a:gd name="T50" fmla="*/ 5716910 w 379"/>
              <a:gd name="T51" fmla="*/ 11200943 h 147"/>
              <a:gd name="T52" fmla="*/ 10251011 w 379"/>
              <a:gd name="T53" fmla="*/ 10640552 h 147"/>
              <a:gd name="T54" fmla="*/ 14193708 w 379"/>
              <a:gd name="T55" fmla="*/ 9240897 h 147"/>
              <a:gd name="T56" fmla="*/ 17150730 w 379"/>
              <a:gd name="T57" fmla="*/ 7000391 h 147"/>
              <a:gd name="T58" fmla="*/ 23459045 w 379"/>
              <a:gd name="T59" fmla="*/ 2239977 h 147"/>
              <a:gd name="T60" fmla="*/ 27204606 w 379"/>
              <a:gd name="T61" fmla="*/ 559862 h 147"/>
              <a:gd name="T62" fmla="*/ 31344438 w 379"/>
              <a:gd name="T63" fmla="*/ 0 h 147"/>
              <a:gd name="T64" fmla="*/ 39426522 w 379"/>
              <a:gd name="T65" fmla="*/ 6440529 h 147"/>
              <a:gd name="T66" fmla="*/ 48100454 w 379"/>
              <a:gd name="T67" fmla="*/ 12601127 h 147"/>
              <a:gd name="T68" fmla="*/ 57562926 w 379"/>
              <a:gd name="T69" fmla="*/ 18761196 h 147"/>
              <a:gd name="T70" fmla="*/ 65645454 w 379"/>
              <a:gd name="T71" fmla="*/ 22401886 h 147"/>
              <a:gd name="T72" fmla="*/ 69785285 w 379"/>
              <a:gd name="T73" fmla="*/ 24082001 h 147"/>
              <a:gd name="T74" fmla="*/ 74713656 w 379"/>
              <a:gd name="T75" fmla="*/ 25762116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14" name="Freeform 454">
            <a:extLst>
              <a:ext uri="{FF2B5EF4-FFF2-40B4-BE49-F238E27FC236}">
                <a16:creationId xmlns:a16="http://schemas.microsoft.com/office/drawing/2014/main" id="{6A7C4B14-BDE9-4A0C-B3C2-C609B52B499F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2509489" y="4414595"/>
            <a:ext cx="101342" cy="218559"/>
          </a:xfrm>
          <a:custGeom>
            <a:avLst/>
            <a:gdLst>
              <a:gd name="T0" fmla="*/ 0 w 61"/>
              <a:gd name="T1" fmla="*/ 0 h 67"/>
              <a:gd name="T2" fmla="*/ 0 w 61"/>
              <a:gd name="T3" fmla="*/ 7295724 h 67"/>
              <a:gd name="T4" fmla="*/ 0 w 61"/>
              <a:gd name="T5" fmla="*/ 14592347 h 67"/>
              <a:gd name="T6" fmla="*/ 244263 w 61"/>
              <a:gd name="T7" fmla="*/ 19456163 h 67"/>
              <a:gd name="T8" fmla="*/ 489020 w 61"/>
              <a:gd name="T9" fmla="*/ 24319979 h 67"/>
              <a:gd name="T10" fmla="*/ 733283 w 61"/>
              <a:gd name="T11" fmla="*/ 29183794 h 67"/>
              <a:gd name="T12" fmla="*/ 1467060 w 61"/>
              <a:gd name="T13" fmla="*/ 34048510 h 67"/>
              <a:gd name="T14" fmla="*/ 2934120 w 61"/>
              <a:gd name="T15" fmla="*/ 44587378 h 67"/>
              <a:gd name="T16" fmla="*/ 5134462 w 61"/>
              <a:gd name="T17" fmla="*/ 54315009 h 67"/>
              <a:gd name="T18" fmla="*/ 6845785 w 61"/>
              <a:gd name="T19" fmla="*/ 52693437 h 67"/>
              <a:gd name="T20" fmla="*/ 8557108 w 61"/>
              <a:gd name="T21" fmla="*/ 49451194 h 67"/>
              <a:gd name="T22" fmla="*/ 10268430 w 61"/>
              <a:gd name="T23" fmla="*/ 47019286 h 67"/>
              <a:gd name="T24" fmla="*/ 11735490 w 61"/>
              <a:gd name="T25" fmla="*/ 42965806 h 67"/>
              <a:gd name="T26" fmla="*/ 12957793 w 61"/>
              <a:gd name="T27" fmla="*/ 38101990 h 67"/>
              <a:gd name="T28" fmla="*/ 13935833 w 61"/>
              <a:gd name="T29" fmla="*/ 32426938 h 67"/>
              <a:gd name="T30" fmla="*/ 14424853 w 61"/>
              <a:gd name="T31" fmla="*/ 25941551 h 67"/>
              <a:gd name="T32" fmla="*/ 14913873 w 61"/>
              <a:gd name="T33" fmla="*/ 19456163 h 67"/>
              <a:gd name="T34" fmla="*/ 12957793 w 61"/>
              <a:gd name="T35" fmla="*/ 11349203 h 67"/>
              <a:gd name="T36" fmla="*/ 10024168 w 61"/>
              <a:gd name="T37" fmla="*/ 0 h 67"/>
              <a:gd name="T38" fmla="*/ 6845785 w 61"/>
              <a:gd name="T39" fmla="*/ 2431908 h 67"/>
              <a:gd name="T40" fmla="*/ 4400685 w 61"/>
              <a:gd name="T41" fmla="*/ 3242244 h 67"/>
              <a:gd name="T42" fmla="*/ 3178383 w 61"/>
              <a:gd name="T43" fmla="*/ 3242244 h 67"/>
              <a:gd name="T44" fmla="*/ 2445100 w 61"/>
              <a:gd name="T45" fmla="*/ 2431908 h 67"/>
              <a:gd name="T46" fmla="*/ 1467060 w 61"/>
              <a:gd name="T47" fmla="*/ 1621572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15" name="Freeform 455">
            <a:extLst>
              <a:ext uri="{FF2B5EF4-FFF2-40B4-BE49-F238E27FC236}">
                <a16:creationId xmlns:a16="http://schemas.microsoft.com/office/drawing/2014/main" id="{5CDED44C-BEFA-4545-8780-66EFA9BA1133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2413481" y="4431846"/>
            <a:ext cx="85344" cy="212811"/>
          </a:xfrm>
          <a:custGeom>
            <a:avLst/>
            <a:gdLst>
              <a:gd name="T0" fmla="*/ 0 w 60"/>
              <a:gd name="T1" fmla="*/ 6843511 h 55"/>
              <a:gd name="T2" fmla="*/ 0 w 60"/>
              <a:gd name="T3" fmla="*/ 27372976 h 55"/>
              <a:gd name="T4" fmla="*/ 896197 w 60"/>
              <a:gd name="T5" fmla="*/ 36497657 h 55"/>
              <a:gd name="T6" fmla="*/ 1791970 w 60"/>
              <a:gd name="T7" fmla="*/ 45622339 h 55"/>
              <a:gd name="T8" fmla="*/ 2867237 w 60"/>
              <a:gd name="T9" fmla="*/ 51324196 h 55"/>
              <a:gd name="T10" fmla="*/ 3763433 w 60"/>
              <a:gd name="T11" fmla="*/ 55886537 h 55"/>
              <a:gd name="T12" fmla="*/ 4838700 w 60"/>
              <a:gd name="T13" fmla="*/ 59308293 h 55"/>
              <a:gd name="T14" fmla="*/ 5913967 w 60"/>
              <a:gd name="T15" fmla="*/ 61589463 h 55"/>
              <a:gd name="T16" fmla="*/ 7168303 w 60"/>
              <a:gd name="T17" fmla="*/ 62730048 h 55"/>
              <a:gd name="T18" fmla="*/ 8243570 w 60"/>
              <a:gd name="T19" fmla="*/ 62730048 h 55"/>
              <a:gd name="T20" fmla="*/ 9498330 w 60"/>
              <a:gd name="T21" fmla="*/ 59308293 h 55"/>
              <a:gd name="T22" fmla="*/ 10752667 w 60"/>
              <a:gd name="T23" fmla="*/ 55886537 h 55"/>
              <a:gd name="T24" fmla="*/ 8960697 w 60"/>
              <a:gd name="T25" fmla="*/ 38778828 h 55"/>
              <a:gd name="T26" fmla="*/ 7526867 w 60"/>
              <a:gd name="T27" fmla="*/ 25091806 h 55"/>
              <a:gd name="T28" fmla="*/ 6989233 w 60"/>
              <a:gd name="T29" fmla="*/ 19388880 h 55"/>
              <a:gd name="T30" fmla="*/ 6272530 w 60"/>
              <a:gd name="T31" fmla="*/ 13687022 h 55"/>
              <a:gd name="T32" fmla="*/ 6093037 w 60"/>
              <a:gd name="T33" fmla="*/ 6843511 h 55"/>
              <a:gd name="T34" fmla="*/ 5913967 w 60"/>
              <a:gd name="T35" fmla="*/ 0 h 55"/>
              <a:gd name="T36" fmla="*/ 4121997 w 60"/>
              <a:gd name="T37" fmla="*/ 1140585 h 55"/>
              <a:gd name="T38" fmla="*/ 2688167 w 60"/>
              <a:gd name="T39" fmla="*/ 3421755 h 55"/>
              <a:gd name="T40" fmla="*/ 1254337 w 60"/>
              <a:gd name="T41" fmla="*/ 5702926 h 55"/>
              <a:gd name="T42" fmla="*/ 0 w 60"/>
              <a:gd name="T43" fmla="*/ 6843511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16" name="Freeform 456">
            <a:extLst>
              <a:ext uri="{FF2B5EF4-FFF2-40B4-BE49-F238E27FC236}">
                <a16:creationId xmlns:a16="http://schemas.microsoft.com/office/drawing/2014/main" id="{12FD2901-CED8-4B71-9F3D-BD076BDD923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2312133" y="4236292"/>
            <a:ext cx="176022" cy="281831"/>
          </a:xfrm>
          <a:custGeom>
            <a:avLst/>
            <a:gdLst>
              <a:gd name="T0" fmla="*/ 14103723 w 120"/>
              <a:gd name="T1" fmla="*/ 35636365 h 148"/>
              <a:gd name="T2" fmla="*/ 13341477 w 120"/>
              <a:gd name="T3" fmla="*/ 36188765 h 148"/>
              <a:gd name="T4" fmla="*/ 12769575 w 120"/>
              <a:gd name="T5" fmla="*/ 36464702 h 148"/>
              <a:gd name="T6" fmla="*/ 12197673 w 120"/>
              <a:gd name="T7" fmla="*/ 36741165 h 148"/>
              <a:gd name="T8" fmla="*/ 11435427 w 120"/>
              <a:gd name="T9" fmla="*/ 36741165 h 148"/>
              <a:gd name="T10" fmla="*/ 10673182 w 120"/>
              <a:gd name="T11" fmla="*/ 36741165 h 148"/>
              <a:gd name="T12" fmla="*/ 10101280 w 120"/>
              <a:gd name="T13" fmla="*/ 36464702 h 148"/>
              <a:gd name="T14" fmla="*/ 9529377 w 120"/>
              <a:gd name="T15" fmla="*/ 36188765 h 148"/>
              <a:gd name="T16" fmla="*/ 8957911 w 120"/>
              <a:gd name="T17" fmla="*/ 35636365 h 148"/>
              <a:gd name="T18" fmla="*/ 7814107 w 120"/>
              <a:gd name="T19" fmla="*/ 35359902 h 148"/>
              <a:gd name="T20" fmla="*/ 6479959 w 120"/>
              <a:gd name="T21" fmla="*/ 34531039 h 148"/>
              <a:gd name="T22" fmla="*/ 4955468 w 120"/>
              <a:gd name="T23" fmla="*/ 33149777 h 148"/>
              <a:gd name="T24" fmla="*/ 3621321 w 120"/>
              <a:gd name="T25" fmla="*/ 31768514 h 148"/>
              <a:gd name="T26" fmla="*/ 2096393 w 120"/>
              <a:gd name="T27" fmla="*/ 29834852 h 148"/>
              <a:gd name="T28" fmla="*/ 1143368 w 120"/>
              <a:gd name="T29" fmla="*/ 27901189 h 148"/>
              <a:gd name="T30" fmla="*/ 571902 w 120"/>
              <a:gd name="T31" fmla="*/ 26796389 h 148"/>
              <a:gd name="T32" fmla="*/ 381123 w 120"/>
              <a:gd name="T33" fmla="*/ 25967527 h 148"/>
              <a:gd name="T34" fmla="*/ 190780 w 120"/>
              <a:gd name="T35" fmla="*/ 24862727 h 148"/>
              <a:gd name="T36" fmla="*/ 0 w 120"/>
              <a:gd name="T37" fmla="*/ 24033864 h 148"/>
              <a:gd name="T38" fmla="*/ 381123 w 120"/>
              <a:gd name="T39" fmla="*/ 20166013 h 148"/>
              <a:gd name="T40" fmla="*/ 1524927 w 120"/>
              <a:gd name="T41" fmla="*/ 15193889 h 148"/>
              <a:gd name="T42" fmla="*/ 2668295 w 120"/>
              <a:gd name="T43" fmla="*/ 9668838 h 148"/>
              <a:gd name="T44" fmla="*/ 3811664 w 120"/>
              <a:gd name="T45" fmla="*/ 4972650 h 148"/>
              <a:gd name="T46" fmla="*/ 6098836 w 120"/>
              <a:gd name="T47" fmla="*/ 4696188 h 148"/>
              <a:gd name="T48" fmla="*/ 8004886 w 120"/>
              <a:gd name="T49" fmla="*/ 4420251 h 148"/>
              <a:gd name="T50" fmla="*/ 9720157 w 120"/>
              <a:gd name="T51" fmla="*/ 3867325 h 148"/>
              <a:gd name="T52" fmla="*/ 11054305 w 120"/>
              <a:gd name="T53" fmla="*/ 3038988 h 148"/>
              <a:gd name="T54" fmla="*/ 13341477 w 120"/>
              <a:gd name="T55" fmla="*/ 1381263 h 148"/>
              <a:gd name="T56" fmla="*/ 15247091 w 120"/>
              <a:gd name="T57" fmla="*/ 0 h 148"/>
              <a:gd name="T58" fmla="*/ 16200116 w 120"/>
              <a:gd name="T59" fmla="*/ 552400 h 148"/>
              <a:gd name="T60" fmla="*/ 17725043 w 120"/>
              <a:gd name="T61" fmla="*/ 1933663 h 148"/>
              <a:gd name="T62" fmla="*/ 18678068 w 120"/>
              <a:gd name="T63" fmla="*/ 2762525 h 148"/>
              <a:gd name="T64" fmla="*/ 19440314 w 120"/>
              <a:gd name="T65" fmla="*/ 3591388 h 148"/>
              <a:gd name="T66" fmla="*/ 20202559 w 120"/>
              <a:gd name="T67" fmla="*/ 4420251 h 148"/>
              <a:gd name="T68" fmla="*/ 20393339 w 120"/>
              <a:gd name="T69" fmla="*/ 4972650 h 148"/>
              <a:gd name="T70" fmla="*/ 19059191 w 120"/>
              <a:gd name="T71" fmla="*/ 7735176 h 148"/>
              <a:gd name="T72" fmla="*/ 17725043 w 120"/>
              <a:gd name="T73" fmla="*/ 10221238 h 148"/>
              <a:gd name="T74" fmla="*/ 18106166 w 120"/>
              <a:gd name="T75" fmla="*/ 11602501 h 148"/>
              <a:gd name="T76" fmla="*/ 18678068 w 120"/>
              <a:gd name="T77" fmla="*/ 13536163 h 148"/>
              <a:gd name="T78" fmla="*/ 19440314 w 120"/>
              <a:gd name="T79" fmla="*/ 15469826 h 148"/>
              <a:gd name="T80" fmla="*/ 20393339 w 120"/>
              <a:gd name="T81" fmla="*/ 17403488 h 148"/>
              <a:gd name="T82" fmla="*/ 21917830 w 120"/>
              <a:gd name="T83" fmla="*/ 20718939 h 148"/>
              <a:gd name="T84" fmla="*/ 22870855 w 120"/>
              <a:gd name="T85" fmla="*/ 21823739 h 148"/>
              <a:gd name="T86" fmla="*/ 21536707 w 120"/>
              <a:gd name="T87" fmla="*/ 22376139 h 148"/>
              <a:gd name="T88" fmla="*/ 20393339 w 120"/>
              <a:gd name="T89" fmla="*/ 23205001 h 148"/>
              <a:gd name="T90" fmla="*/ 19059191 w 120"/>
              <a:gd name="T91" fmla="*/ 24033864 h 148"/>
              <a:gd name="T92" fmla="*/ 18296509 w 120"/>
              <a:gd name="T93" fmla="*/ 25138664 h 148"/>
              <a:gd name="T94" fmla="*/ 17153141 w 120"/>
              <a:gd name="T95" fmla="*/ 26243464 h 148"/>
              <a:gd name="T96" fmla="*/ 16581239 w 120"/>
              <a:gd name="T97" fmla="*/ 27348789 h 148"/>
              <a:gd name="T98" fmla="*/ 15628214 w 120"/>
              <a:gd name="T99" fmla="*/ 28730052 h 148"/>
              <a:gd name="T100" fmla="*/ 15247091 w 120"/>
              <a:gd name="T101" fmla="*/ 30111314 h 148"/>
              <a:gd name="T102" fmla="*/ 14865968 w 120"/>
              <a:gd name="T103" fmla="*/ 31492577 h 148"/>
              <a:gd name="T104" fmla="*/ 14675625 w 120"/>
              <a:gd name="T105" fmla="*/ 33149777 h 148"/>
              <a:gd name="T106" fmla="*/ 14484845 w 120"/>
              <a:gd name="T107" fmla="*/ 34531039 h 148"/>
              <a:gd name="T108" fmla="*/ 14294502 w 120"/>
              <a:gd name="T109" fmla="*/ 35912302 h 148"/>
              <a:gd name="T110" fmla="*/ 14484845 w 120"/>
              <a:gd name="T111" fmla="*/ 37293564 h 148"/>
              <a:gd name="T112" fmla="*/ 14675625 w 120"/>
              <a:gd name="T113" fmla="*/ 38674827 h 148"/>
              <a:gd name="T114" fmla="*/ 14865968 w 120"/>
              <a:gd name="T115" fmla="*/ 39780152 h 148"/>
              <a:gd name="T116" fmla="*/ 15247091 w 120"/>
              <a:gd name="T117" fmla="*/ 40884952 h 148"/>
              <a:gd name="T118" fmla="*/ 14103723 w 120"/>
              <a:gd name="T119" fmla="*/ 35636365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17" name="Freeform 458">
            <a:extLst>
              <a:ext uri="{FF2B5EF4-FFF2-40B4-BE49-F238E27FC236}">
                <a16:creationId xmlns:a16="http://schemas.microsoft.com/office/drawing/2014/main" id="{FB314387-261F-4AAA-9C37-842FBE75ACC6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2402811" y="5829485"/>
            <a:ext cx="58671" cy="207057"/>
          </a:xfrm>
          <a:custGeom>
            <a:avLst/>
            <a:gdLst>
              <a:gd name="T0" fmla="*/ 1334097 w 40"/>
              <a:gd name="T1" fmla="*/ 11706532 h 93"/>
              <a:gd name="T2" fmla="*/ 1905977 w 40"/>
              <a:gd name="T3" fmla="*/ 11328605 h 93"/>
              <a:gd name="T4" fmla="*/ 2668194 w 40"/>
              <a:gd name="T5" fmla="*/ 9818124 h 93"/>
              <a:gd name="T6" fmla="*/ 3811518 w 40"/>
              <a:gd name="T7" fmla="*/ 7552403 h 93"/>
              <a:gd name="T8" fmla="*/ 4764507 w 40"/>
              <a:gd name="T9" fmla="*/ 5664610 h 93"/>
              <a:gd name="T10" fmla="*/ 6670047 w 40"/>
              <a:gd name="T11" fmla="*/ 1510481 h 93"/>
              <a:gd name="T12" fmla="*/ 7623036 w 40"/>
              <a:gd name="T13" fmla="*/ 0 h 93"/>
              <a:gd name="T14" fmla="*/ 7051156 w 40"/>
              <a:gd name="T15" fmla="*/ 9818124 h 93"/>
              <a:gd name="T16" fmla="*/ 6670047 w 40"/>
              <a:gd name="T17" fmla="*/ 20014176 h 93"/>
              <a:gd name="T18" fmla="*/ 6479712 w 40"/>
              <a:gd name="T19" fmla="*/ 24546232 h 93"/>
              <a:gd name="T20" fmla="*/ 6479712 w 40"/>
              <a:gd name="T21" fmla="*/ 29077674 h 93"/>
              <a:gd name="T22" fmla="*/ 6670047 w 40"/>
              <a:gd name="T23" fmla="*/ 30965468 h 93"/>
              <a:gd name="T24" fmla="*/ 6860820 w 40"/>
              <a:gd name="T25" fmla="*/ 32475948 h 93"/>
              <a:gd name="T26" fmla="*/ 7051156 w 40"/>
              <a:gd name="T27" fmla="*/ 33986429 h 93"/>
              <a:gd name="T28" fmla="*/ 7623036 w 40"/>
              <a:gd name="T29" fmla="*/ 35119597 h 93"/>
              <a:gd name="T30" fmla="*/ 4954843 w 40"/>
              <a:gd name="T31" fmla="*/ 35119597 h 93"/>
              <a:gd name="T32" fmla="*/ 2477421 w 40"/>
              <a:gd name="T33" fmla="*/ 35119597 h 93"/>
              <a:gd name="T34" fmla="*/ 2096313 w 40"/>
              <a:gd name="T35" fmla="*/ 34741669 h 93"/>
              <a:gd name="T36" fmla="*/ 1524433 w 40"/>
              <a:gd name="T37" fmla="*/ 34364356 h 93"/>
              <a:gd name="T38" fmla="*/ 1143324 w 40"/>
              <a:gd name="T39" fmla="*/ 33231189 h 93"/>
              <a:gd name="T40" fmla="*/ 762216 w 40"/>
              <a:gd name="T41" fmla="*/ 32475948 h 93"/>
              <a:gd name="T42" fmla="*/ 190772 w 40"/>
              <a:gd name="T43" fmla="*/ 30210227 h 93"/>
              <a:gd name="T44" fmla="*/ 0 w 40"/>
              <a:gd name="T45" fmla="*/ 27567194 h 93"/>
              <a:gd name="T46" fmla="*/ 190772 w 40"/>
              <a:gd name="T47" fmla="*/ 24168305 h 93"/>
              <a:gd name="T48" fmla="*/ 571881 w 40"/>
              <a:gd name="T49" fmla="*/ 18881623 h 93"/>
              <a:gd name="T50" fmla="*/ 1143324 w 40"/>
              <a:gd name="T51" fmla="*/ 13972253 h 93"/>
              <a:gd name="T52" fmla="*/ 1334097 w 40"/>
              <a:gd name="T53" fmla="*/ 11706532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18" name="Freeform 459">
            <a:extLst>
              <a:ext uri="{FF2B5EF4-FFF2-40B4-BE49-F238E27FC236}">
                <a16:creationId xmlns:a16="http://schemas.microsoft.com/office/drawing/2014/main" id="{4269B5C9-BC99-457E-A599-92B222804C43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192010" y="4926480"/>
            <a:ext cx="992111" cy="989274"/>
          </a:xfrm>
          <a:custGeom>
            <a:avLst/>
            <a:gdLst>
              <a:gd name="T0" fmla="*/ 29464799 w 664"/>
              <a:gd name="T1" fmla="*/ 123647372 h 518"/>
              <a:gd name="T2" fmla="*/ 29860129 w 664"/>
              <a:gd name="T3" fmla="*/ 119757200 h 518"/>
              <a:gd name="T4" fmla="*/ 28871580 w 664"/>
              <a:gd name="T5" fmla="*/ 111143474 h 518"/>
              <a:gd name="T6" fmla="*/ 29860129 w 664"/>
              <a:gd name="T7" fmla="*/ 98084515 h 518"/>
              <a:gd name="T8" fmla="*/ 28871580 w 664"/>
              <a:gd name="T9" fmla="*/ 82802149 h 518"/>
              <a:gd name="T10" fmla="*/ 26498708 w 664"/>
              <a:gd name="T11" fmla="*/ 69742663 h 518"/>
              <a:gd name="T12" fmla="*/ 21554630 w 664"/>
              <a:gd name="T13" fmla="*/ 66964195 h 518"/>
              <a:gd name="T14" fmla="*/ 3955084 w 664"/>
              <a:gd name="T15" fmla="*/ 53349120 h 518"/>
              <a:gd name="T16" fmla="*/ 4746190 w 664"/>
              <a:gd name="T17" fmla="*/ 47513863 h 518"/>
              <a:gd name="T18" fmla="*/ 7119062 w 664"/>
              <a:gd name="T19" fmla="*/ 44179806 h 518"/>
              <a:gd name="T20" fmla="*/ 9491935 w 664"/>
              <a:gd name="T21" fmla="*/ 41123017 h 518"/>
              <a:gd name="T22" fmla="*/ 19774976 w 664"/>
              <a:gd name="T23" fmla="*/ 43068103 h 518"/>
              <a:gd name="T24" fmla="*/ 24718609 w 664"/>
              <a:gd name="T25" fmla="*/ 42234720 h 518"/>
              <a:gd name="T26" fmla="*/ 29069468 w 664"/>
              <a:gd name="T27" fmla="*/ 43623691 h 518"/>
              <a:gd name="T28" fmla="*/ 32628777 w 664"/>
              <a:gd name="T29" fmla="*/ 26118972 h 518"/>
              <a:gd name="T30" fmla="*/ 36583861 w 664"/>
              <a:gd name="T31" fmla="*/ 30286411 h 518"/>
              <a:gd name="T32" fmla="*/ 40934276 w 664"/>
              <a:gd name="T33" fmla="*/ 30564732 h 518"/>
              <a:gd name="T34" fmla="*/ 46669014 w 664"/>
              <a:gd name="T35" fmla="*/ 27507943 h 518"/>
              <a:gd name="T36" fmla="*/ 52205865 w 664"/>
              <a:gd name="T37" fmla="*/ 22228800 h 518"/>
              <a:gd name="T38" fmla="*/ 57149943 w 664"/>
              <a:gd name="T39" fmla="*/ 15837954 h 518"/>
              <a:gd name="T40" fmla="*/ 60907139 w 664"/>
              <a:gd name="T41" fmla="*/ 8891520 h 518"/>
              <a:gd name="T42" fmla="*/ 62884681 w 664"/>
              <a:gd name="T43" fmla="*/ 3334056 h 518"/>
              <a:gd name="T44" fmla="*/ 73167722 w 664"/>
              <a:gd name="T45" fmla="*/ 1111176 h 518"/>
              <a:gd name="T46" fmla="*/ 79891009 w 664"/>
              <a:gd name="T47" fmla="*/ 8891520 h 518"/>
              <a:gd name="T48" fmla="*/ 90371938 w 664"/>
              <a:gd name="T49" fmla="*/ 16949658 h 518"/>
              <a:gd name="T50" fmla="*/ 101050309 w 664"/>
              <a:gd name="T51" fmla="*/ 25007268 h 518"/>
              <a:gd name="T52" fmla="*/ 109158365 w 664"/>
              <a:gd name="T53" fmla="*/ 29730823 h 518"/>
              <a:gd name="T54" fmla="*/ 114299885 w 664"/>
              <a:gd name="T55" fmla="*/ 32231497 h 518"/>
              <a:gd name="T56" fmla="*/ 123198602 w 664"/>
              <a:gd name="T57" fmla="*/ 33620994 h 518"/>
              <a:gd name="T58" fmla="*/ 130119777 w 664"/>
              <a:gd name="T59" fmla="*/ 37788960 h 518"/>
              <a:gd name="T60" fmla="*/ 127549017 w 664"/>
              <a:gd name="T61" fmla="*/ 46124892 h 518"/>
              <a:gd name="T62" fmla="*/ 122605384 w 664"/>
              <a:gd name="T63" fmla="*/ 65574697 h 518"/>
              <a:gd name="T64" fmla="*/ 118254525 w 664"/>
              <a:gd name="T65" fmla="*/ 75577921 h 518"/>
              <a:gd name="T66" fmla="*/ 115683764 w 664"/>
              <a:gd name="T67" fmla="*/ 79467565 h 518"/>
              <a:gd name="T68" fmla="*/ 118452412 w 664"/>
              <a:gd name="T69" fmla="*/ 82802149 h 518"/>
              <a:gd name="T70" fmla="*/ 122209609 w 664"/>
              <a:gd name="T71" fmla="*/ 85302823 h 518"/>
              <a:gd name="T72" fmla="*/ 123198602 w 664"/>
              <a:gd name="T73" fmla="*/ 92804845 h 518"/>
              <a:gd name="T74" fmla="*/ 122605384 w 664"/>
              <a:gd name="T75" fmla="*/ 96417223 h 518"/>
              <a:gd name="T76" fmla="*/ 122209609 w 664"/>
              <a:gd name="T77" fmla="*/ 103363657 h 518"/>
              <a:gd name="T78" fmla="*/ 123000715 w 664"/>
              <a:gd name="T79" fmla="*/ 110865680 h 518"/>
              <a:gd name="T80" fmla="*/ 124978257 w 664"/>
              <a:gd name="T81" fmla="*/ 117534320 h 518"/>
              <a:gd name="T82" fmla="*/ 120232067 w 664"/>
              <a:gd name="T83" fmla="*/ 126981428 h 518"/>
              <a:gd name="T84" fmla="*/ 112519786 w 664"/>
              <a:gd name="T85" fmla="*/ 134483978 h 518"/>
              <a:gd name="T86" fmla="*/ 107180823 w 664"/>
              <a:gd name="T87" fmla="*/ 135872948 h 518"/>
              <a:gd name="T88" fmla="*/ 100654978 w 664"/>
              <a:gd name="T89" fmla="*/ 133650068 h 518"/>
              <a:gd name="T90" fmla="*/ 94327022 w 664"/>
              <a:gd name="T91" fmla="*/ 127815338 h 518"/>
              <a:gd name="T92" fmla="*/ 91558374 w 664"/>
              <a:gd name="T93" fmla="*/ 126703634 h 518"/>
              <a:gd name="T94" fmla="*/ 87603290 w 664"/>
              <a:gd name="T95" fmla="*/ 126981428 h 518"/>
              <a:gd name="T96" fmla="*/ 83648206 w 664"/>
              <a:gd name="T97" fmla="*/ 129204308 h 518"/>
              <a:gd name="T98" fmla="*/ 80286784 w 664"/>
              <a:gd name="T99" fmla="*/ 132538892 h 518"/>
              <a:gd name="T100" fmla="*/ 76727031 w 664"/>
              <a:gd name="T101" fmla="*/ 139763120 h 518"/>
              <a:gd name="T102" fmla="*/ 76133813 w 664"/>
              <a:gd name="T103" fmla="*/ 143653292 h 518"/>
              <a:gd name="T104" fmla="*/ 65850772 w 664"/>
              <a:gd name="T105" fmla="*/ 143097704 h 518"/>
              <a:gd name="T106" fmla="*/ 62686794 w 664"/>
              <a:gd name="T107" fmla="*/ 140874824 h 518"/>
              <a:gd name="T108" fmla="*/ 60709252 w 664"/>
              <a:gd name="T109" fmla="*/ 138929738 h 518"/>
              <a:gd name="T110" fmla="*/ 58534267 w 664"/>
              <a:gd name="T111" fmla="*/ 141152618 h 518"/>
              <a:gd name="T112" fmla="*/ 56754167 w 664"/>
              <a:gd name="T113" fmla="*/ 143375498 h 518"/>
              <a:gd name="T114" fmla="*/ 52996971 w 664"/>
              <a:gd name="T115" fmla="*/ 143375498 h 518"/>
              <a:gd name="T116" fmla="*/ 44889360 w 664"/>
              <a:gd name="T117" fmla="*/ 140597029 h 518"/>
              <a:gd name="T118" fmla="*/ 36583861 w 664"/>
              <a:gd name="T119" fmla="*/ 135317360 h 518"/>
              <a:gd name="T120" fmla="*/ 31640228 w 664"/>
              <a:gd name="T121" fmla="*/ 130316012 h 518"/>
              <a:gd name="T122" fmla="*/ 28871580 w 664"/>
              <a:gd name="T123" fmla="*/ 125036869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19" name="Freeform 460">
            <a:extLst>
              <a:ext uri="{FF2B5EF4-FFF2-40B4-BE49-F238E27FC236}">
                <a16:creationId xmlns:a16="http://schemas.microsoft.com/office/drawing/2014/main" id="{5EDBFDA6-9BBF-4009-8DC6-D1B4FD570507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837115" y="5765800"/>
            <a:ext cx="506723" cy="299084"/>
          </a:xfrm>
          <a:custGeom>
            <a:avLst/>
            <a:gdLst>
              <a:gd name="T0" fmla="*/ 60943044 w 352"/>
              <a:gd name="T1" fmla="*/ 26490457 h 153"/>
              <a:gd name="T2" fmla="*/ 64614373 w 352"/>
              <a:gd name="T3" fmla="*/ 44539232 h 153"/>
              <a:gd name="T4" fmla="*/ 59841516 w 352"/>
              <a:gd name="T5" fmla="*/ 41045694 h 153"/>
              <a:gd name="T6" fmla="*/ 54885714 w 352"/>
              <a:gd name="T7" fmla="*/ 37552696 h 153"/>
              <a:gd name="T8" fmla="*/ 48827956 w 352"/>
              <a:gd name="T9" fmla="*/ 41045694 h 153"/>
              <a:gd name="T10" fmla="*/ 42586824 w 352"/>
              <a:gd name="T11" fmla="*/ 41045694 h 153"/>
              <a:gd name="T12" fmla="*/ 41669099 w 352"/>
              <a:gd name="T13" fmla="*/ 39299195 h 153"/>
              <a:gd name="T14" fmla="*/ 41485296 w 352"/>
              <a:gd name="T15" fmla="*/ 39299195 h 153"/>
              <a:gd name="T16" fmla="*/ 40200395 w 352"/>
              <a:gd name="T17" fmla="*/ 37552696 h 153"/>
              <a:gd name="T18" fmla="*/ 39098868 w 352"/>
              <a:gd name="T19" fmla="*/ 36388364 h 153"/>
              <a:gd name="T20" fmla="*/ 37630593 w 352"/>
              <a:gd name="T21" fmla="*/ 35224031 h 153"/>
              <a:gd name="T22" fmla="*/ 36161890 w 352"/>
              <a:gd name="T23" fmla="*/ 34350512 h 153"/>
              <a:gd name="T24" fmla="*/ 33224912 w 352"/>
              <a:gd name="T25" fmla="*/ 32894826 h 153"/>
              <a:gd name="T26" fmla="*/ 29920758 w 352"/>
              <a:gd name="T27" fmla="*/ 32021846 h 153"/>
              <a:gd name="T28" fmla="*/ 23129077 w 352"/>
              <a:gd name="T29" fmla="*/ 31148327 h 153"/>
              <a:gd name="T30" fmla="*/ 15786417 w 352"/>
              <a:gd name="T31" fmla="*/ 30274808 h 153"/>
              <a:gd name="T32" fmla="*/ 15603044 w 352"/>
              <a:gd name="T33" fmla="*/ 27363976 h 153"/>
              <a:gd name="T34" fmla="*/ 15052066 w 352"/>
              <a:gd name="T35" fmla="*/ 24453144 h 153"/>
              <a:gd name="T36" fmla="*/ 14684890 w 352"/>
              <a:gd name="T37" fmla="*/ 21833126 h 153"/>
              <a:gd name="T38" fmla="*/ 13767165 w 352"/>
              <a:gd name="T39" fmla="*/ 19503921 h 153"/>
              <a:gd name="T40" fmla="*/ 13032813 w 352"/>
              <a:gd name="T41" fmla="*/ 17175256 h 153"/>
              <a:gd name="T42" fmla="*/ 12298890 w 352"/>
              <a:gd name="T43" fmla="*/ 15137404 h 153"/>
              <a:gd name="T44" fmla="*/ 11197363 w 352"/>
              <a:gd name="T45" fmla="*/ 12808739 h 153"/>
              <a:gd name="T46" fmla="*/ 10279637 w 352"/>
              <a:gd name="T47" fmla="*/ 10770887 h 153"/>
              <a:gd name="T48" fmla="*/ 8077011 w 352"/>
              <a:gd name="T49" fmla="*/ 7568702 h 153"/>
              <a:gd name="T50" fmla="*/ 5323407 w 352"/>
              <a:gd name="T51" fmla="*/ 4657870 h 153"/>
              <a:gd name="T52" fmla="*/ 2753604 w 352"/>
              <a:gd name="T53" fmla="*/ 2037852 h 153"/>
              <a:gd name="T54" fmla="*/ 0 w 352"/>
              <a:gd name="T55" fmla="*/ 0 h 153"/>
              <a:gd name="T56" fmla="*/ 1284901 w 352"/>
              <a:gd name="T57" fmla="*/ 0 h 153"/>
              <a:gd name="T58" fmla="*/ 11013989 w 352"/>
              <a:gd name="T59" fmla="*/ 5240037 h 153"/>
              <a:gd name="T60" fmla="*/ 19457747 w 352"/>
              <a:gd name="T61" fmla="*/ 8733035 h 153"/>
              <a:gd name="T62" fmla="*/ 24597352 w 352"/>
              <a:gd name="T63" fmla="*/ 5240037 h 153"/>
              <a:gd name="T64" fmla="*/ 33041538 w 352"/>
              <a:gd name="T65" fmla="*/ 10480073 h 153"/>
              <a:gd name="T66" fmla="*/ 37813967 w 352"/>
              <a:gd name="T67" fmla="*/ 16010923 h 153"/>
              <a:gd name="T68" fmla="*/ 45156626 w 352"/>
              <a:gd name="T69" fmla="*/ 14264424 h 153"/>
              <a:gd name="T70" fmla="*/ 52499285 w 352"/>
              <a:gd name="T71" fmla="*/ 17757422 h 153"/>
              <a:gd name="T72" fmla="*/ 57455516 w 352"/>
              <a:gd name="T73" fmla="*/ 22997459 h 153"/>
              <a:gd name="T74" fmla="*/ 60943044 w 352"/>
              <a:gd name="T75" fmla="*/ 2649045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20" name="Freeform 461">
            <a:extLst>
              <a:ext uri="{FF2B5EF4-FFF2-40B4-BE49-F238E27FC236}">
                <a16:creationId xmlns:a16="http://schemas.microsoft.com/office/drawing/2014/main" id="{AB6E7D68-EE16-419F-8B75-92F65429CEE4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3309584" y="5996279"/>
            <a:ext cx="496053" cy="626925"/>
          </a:xfrm>
          <a:custGeom>
            <a:avLst/>
            <a:gdLst>
              <a:gd name="T0" fmla="*/ 45757657 w 331"/>
              <a:gd name="T1" fmla="*/ 11200903 h 327"/>
              <a:gd name="T2" fmla="*/ 38396325 w 331"/>
              <a:gd name="T3" fmla="*/ 15680841 h 327"/>
              <a:gd name="T4" fmla="*/ 36208086 w 331"/>
              <a:gd name="T5" fmla="*/ 18761129 h 327"/>
              <a:gd name="T6" fmla="*/ 36009155 w 331"/>
              <a:gd name="T7" fmla="*/ 22681736 h 327"/>
              <a:gd name="T8" fmla="*/ 36605947 w 331"/>
              <a:gd name="T9" fmla="*/ 26321884 h 327"/>
              <a:gd name="T10" fmla="*/ 35213432 w 331"/>
              <a:gd name="T11" fmla="*/ 28561853 h 327"/>
              <a:gd name="T12" fmla="*/ 33423054 w 331"/>
              <a:gd name="T13" fmla="*/ 29402172 h 327"/>
              <a:gd name="T14" fmla="*/ 31831162 w 331"/>
              <a:gd name="T15" fmla="*/ 27441604 h 327"/>
              <a:gd name="T16" fmla="*/ 29642923 w 331"/>
              <a:gd name="T17" fmla="*/ 23801456 h 327"/>
              <a:gd name="T18" fmla="*/ 25067068 w 331"/>
              <a:gd name="T19" fmla="*/ 20721168 h 327"/>
              <a:gd name="T20" fmla="*/ 25265998 w 331"/>
              <a:gd name="T21" fmla="*/ 26881744 h 327"/>
              <a:gd name="T22" fmla="*/ 27653614 w 331"/>
              <a:gd name="T23" fmla="*/ 32482461 h 327"/>
              <a:gd name="T24" fmla="*/ 30637577 w 331"/>
              <a:gd name="T25" fmla="*/ 36122609 h 327"/>
              <a:gd name="T26" fmla="*/ 31632231 w 331"/>
              <a:gd name="T27" fmla="*/ 36402539 h 327"/>
              <a:gd name="T28" fmla="*/ 31632231 w 331"/>
              <a:gd name="T29" fmla="*/ 49563481 h 327"/>
              <a:gd name="T30" fmla="*/ 31632231 w 331"/>
              <a:gd name="T31" fmla="*/ 66364571 h 327"/>
              <a:gd name="T32" fmla="*/ 31035438 w 331"/>
              <a:gd name="T33" fmla="*/ 70284649 h 327"/>
              <a:gd name="T34" fmla="*/ 29245061 w 331"/>
              <a:gd name="T35" fmla="*/ 72525147 h 327"/>
              <a:gd name="T36" fmla="*/ 28847199 w 331"/>
              <a:gd name="T37" fmla="*/ 73924797 h 327"/>
              <a:gd name="T38" fmla="*/ 32229023 w 331"/>
              <a:gd name="T39" fmla="*/ 77285015 h 327"/>
              <a:gd name="T40" fmla="*/ 33224123 w 331"/>
              <a:gd name="T41" fmla="*/ 80085373 h 327"/>
              <a:gd name="T42" fmla="*/ 30836508 w 331"/>
              <a:gd name="T43" fmla="*/ 82605801 h 327"/>
              <a:gd name="T44" fmla="*/ 27852545 w 331"/>
              <a:gd name="T45" fmla="*/ 83165661 h 327"/>
              <a:gd name="T46" fmla="*/ 25862791 w 331"/>
              <a:gd name="T47" fmla="*/ 85966019 h 327"/>
              <a:gd name="T48" fmla="*/ 25067068 w 331"/>
              <a:gd name="T49" fmla="*/ 89886097 h 327"/>
              <a:gd name="T50" fmla="*/ 24072414 w 331"/>
              <a:gd name="T51" fmla="*/ 84005451 h 327"/>
              <a:gd name="T52" fmla="*/ 24669206 w 331"/>
              <a:gd name="T53" fmla="*/ 80645233 h 327"/>
              <a:gd name="T54" fmla="*/ 21685244 w 331"/>
              <a:gd name="T55" fmla="*/ 80085373 h 327"/>
              <a:gd name="T56" fmla="*/ 18501905 w 331"/>
              <a:gd name="T57" fmla="*/ 81765482 h 327"/>
              <a:gd name="T58" fmla="*/ 15716873 w 331"/>
              <a:gd name="T59" fmla="*/ 82885731 h 327"/>
              <a:gd name="T60" fmla="*/ 14522842 w 331"/>
              <a:gd name="T61" fmla="*/ 67764750 h 327"/>
              <a:gd name="T62" fmla="*/ 15716873 w 331"/>
              <a:gd name="T63" fmla="*/ 60483925 h 327"/>
              <a:gd name="T64" fmla="*/ 9549572 w 331"/>
              <a:gd name="T65" fmla="*/ 59083746 h 327"/>
              <a:gd name="T66" fmla="*/ 5570509 w 331"/>
              <a:gd name="T67" fmla="*/ 55443598 h 327"/>
              <a:gd name="T68" fmla="*/ 2586101 w 331"/>
              <a:gd name="T69" fmla="*/ 48443232 h 327"/>
              <a:gd name="T70" fmla="*/ 0 w 331"/>
              <a:gd name="T71" fmla="*/ 36402539 h 327"/>
              <a:gd name="T72" fmla="*/ 5570509 w 331"/>
              <a:gd name="T73" fmla="*/ 31082281 h 327"/>
              <a:gd name="T74" fmla="*/ 9947433 w 331"/>
              <a:gd name="T75" fmla="*/ 22681736 h 327"/>
              <a:gd name="T76" fmla="*/ 14522842 w 331"/>
              <a:gd name="T77" fmla="*/ 15400911 h 327"/>
              <a:gd name="T78" fmla="*/ 22878829 w 331"/>
              <a:gd name="T79" fmla="*/ 11480833 h 327"/>
              <a:gd name="T80" fmla="*/ 35810224 w 331"/>
              <a:gd name="T81" fmla="*/ 3920078 h 327"/>
              <a:gd name="T82" fmla="*/ 43370041 w 331"/>
              <a:gd name="T83" fmla="*/ 1960039 h 327"/>
              <a:gd name="T84" fmla="*/ 49537343 w 331"/>
              <a:gd name="T85" fmla="*/ 3920078 h 327"/>
              <a:gd name="T86" fmla="*/ 53914267 w 331"/>
              <a:gd name="T87" fmla="*/ 7560755 h 327"/>
              <a:gd name="T88" fmla="*/ 58092260 w 331"/>
              <a:gd name="T89" fmla="*/ 8400545 h 327"/>
              <a:gd name="T90" fmla="*/ 61076223 w 331"/>
              <a:gd name="T91" fmla="*/ 5600187 h 327"/>
              <a:gd name="T92" fmla="*/ 65055285 w 331"/>
              <a:gd name="T93" fmla="*/ 1680109 h 327"/>
              <a:gd name="T94" fmla="*/ 65652078 w 331"/>
              <a:gd name="T95" fmla="*/ 8960405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>
              <a:alpha val="63000"/>
            </a:srgb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21" name="Freeform 469">
            <a:extLst>
              <a:ext uri="{FF2B5EF4-FFF2-40B4-BE49-F238E27FC236}">
                <a16:creationId xmlns:a16="http://schemas.microsoft.com/office/drawing/2014/main" id="{AFB677C8-60F7-40C4-9B5B-BBD2FCFA84D2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3197569" y="4190282"/>
            <a:ext cx="544061" cy="241566"/>
          </a:xfrm>
          <a:custGeom>
            <a:avLst/>
            <a:gdLst>
              <a:gd name="T0" fmla="*/ 47881223 w 370"/>
              <a:gd name="T1" fmla="*/ 31256103 h 129"/>
              <a:gd name="T2" fmla="*/ 49413383 w 370"/>
              <a:gd name="T3" fmla="*/ 31790020 h 129"/>
              <a:gd name="T4" fmla="*/ 53052319 w 370"/>
              <a:gd name="T5" fmla="*/ 32858887 h 129"/>
              <a:gd name="T6" fmla="*/ 56499571 w 370"/>
              <a:gd name="T7" fmla="*/ 33927238 h 129"/>
              <a:gd name="T8" fmla="*/ 58031732 w 370"/>
              <a:gd name="T9" fmla="*/ 34461672 h 129"/>
              <a:gd name="T10" fmla="*/ 70864069 w 370"/>
              <a:gd name="T11" fmla="*/ 25912799 h 129"/>
              <a:gd name="T12" fmla="*/ 68565610 w 370"/>
              <a:gd name="T13" fmla="*/ 20036096 h 129"/>
              <a:gd name="T14" fmla="*/ 66075903 w 370"/>
              <a:gd name="T15" fmla="*/ 12822791 h 129"/>
              <a:gd name="T16" fmla="*/ 64160812 w 370"/>
              <a:gd name="T17" fmla="*/ 7212788 h 129"/>
              <a:gd name="T18" fmla="*/ 63203266 w 370"/>
              <a:gd name="T19" fmla="*/ 4808353 h 129"/>
              <a:gd name="T20" fmla="*/ 57457555 w 370"/>
              <a:gd name="T21" fmla="*/ 4007219 h 129"/>
              <a:gd name="T22" fmla="*/ 49221699 w 370"/>
              <a:gd name="T23" fmla="*/ 2404435 h 129"/>
              <a:gd name="T24" fmla="*/ 40986281 w 370"/>
              <a:gd name="T25" fmla="*/ 534434 h 129"/>
              <a:gd name="T26" fmla="*/ 35048885 w 370"/>
              <a:gd name="T27" fmla="*/ 0 h 129"/>
              <a:gd name="T28" fmla="*/ 34283024 w 370"/>
              <a:gd name="T29" fmla="*/ 0 h 129"/>
              <a:gd name="T30" fmla="*/ 33708409 w 370"/>
              <a:gd name="T31" fmla="*/ 267217 h 129"/>
              <a:gd name="T32" fmla="*/ 32942110 w 370"/>
              <a:gd name="T33" fmla="*/ 534434 h 129"/>
              <a:gd name="T34" fmla="*/ 32559179 w 370"/>
              <a:gd name="T35" fmla="*/ 801651 h 129"/>
              <a:gd name="T36" fmla="*/ 31027018 w 370"/>
              <a:gd name="T37" fmla="*/ 1870001 h 129"/>
              <a:gd name="T38" fmla="*/ 28728558 w 370"/>
              <a:gd name="T39" fmla="*/ 3205569 h 129"/>
              <a:gd name="T40" fmla="*/ 28153944 w 370"/>
              <a:gd name="T41" fmla="*/ 5610003 h 129"/>
              <a:gd name="T42" fmla="*/ 26813467 w 370"/>
              <a:gd name="T43" fmla="*/ 9350006 h 129"/>
              <a:gd name="T44" fmla="*/ 25664237 w 370"/>
              <a:gd name="T45" fmla="*/ 12822791 h 129"/>
              <a:gd name="T46" fmla="*/ 25089622 w 370"/>
              <a:gd name="T47" fmla="*/ 14692792 h 129"/>
              <a:gd name="T48" fmla="*/ 23365778 w 370"/>
              <a:gd name="T49" fmla="*/ 14425576 h 129"/>
              <a:gd name="T50" fmla="*/ 21259440 w 370"/>
              <a:gd name="T51" fmla="*/ 13090008 h 129"/>
              <a:gd name="T52" fmla="*/ 18769296 w 370"/>
              <a:gd name="T53" fmla="*/ 11754441 h 129"/>
              <a:gd name="T54" fmla="*/ 16087905 w 370"/>
              <a:gd name="T55" fmla="*/ 10151656 h 129"/>
              <a:gd name="T56" fmla="*/ 11491423 w 370"/>
              <a:gd name="T57" fmla="*/ 6945571 h 129"/>
              <a:gd name="T58" fmla="*/ 8427102 w 370"/>
              <a:gd name="T59" fmla="*/ 4808353 h 129"/>
              <a:gd name="T60" fmla="*/ 6128642 w 370"/>
              <a:gd name="T61" fmla="*/ 6678871 h 129"/>
              <a:gd name="T62" fmla="*/ 4021867 w 370"/>
              <a:gd name="T63" fmla="*/ 8815572 h 129"/>
              <a:gd name="T64" fmla="*/ 3064321 w 370"/>
              <a:gd name="T65" fmla="*/ 9884440 h 129"/>
              <a:gd name="T66" fmla="*/ 2298460 w 370"/>
              <a:gd name="T67" fmla="*/ 10952790 h 129"/>
              <a:gd name="T68" fmla="*/ 1723845 w 370"/>
              <a:gd name="T69" fmla="*/ 12288874 h 129"/>
              <a:gd name="T70" fmla="*/ 957546 w 370"/>
              <a:gd name="T71" fmla="*/ 13891659 h 129"/>
              <a:gd name="T72" fmla="*/ 574615 w 370"/>
              <a:gd name="T73" fmla="*/ 15227226 h 129"/>
              <a:gd name="T74" fmla="*/ 191684 w 370"/>
              <a:gd name="T75" fmla="*/ 16830010 h 129"/>
              <a:gd name="T76" fmla="*/ 0 w 370"/>
              <a:gd name="T77" fmla="*/ 18432795 h 129"/>
              <a:gd name="T78" fmla="*/ 0 w 370"/>
              <a:gd name="T79" fmla="*/ 20036096 h 129"/>
              <a:gd name="T80" fmla="*/ 191684 w 370"/>
              <a:gd name="T81" fmla="*/ 21906097 h 129"/>
              <a:gd name="T82" fmla="*/ 574615 w 370"/>
              <a:gd name="T83" fmla="*/ 23508881 h 129"/>
              <a:gd name="T84" fmla="*/ 1149230 w 370"/>
              <a:gd name="T85" fmla="*/ 25646099 h 129"/>
              <a:gd name="T86" fmla="*/ 2106776 w 370"/>
              <a:gd name="T87" fmla="*/ 27516101 h 129"/>
              <a:gd name="T88" fmla="*/ 3830620 w 370"/>
              <a:gd name="T89" fmla="*/ 26981667 h 129"/>
              <a:gd name="T90" fmla="*/ 6320327 w 370"/>
              <a:gd name="T91" fmla="*/ 26447233 h 129"/>
              <a:gd name="T92" fmla="*/ 9576332 w 370"/>
              <a:gd name="T93" fmla="*/ 25912799 h 129"/>
              <a:gd name="T94" fmla="*/ 13215268 w 370"/>
              <a:gd name="T95" fmla="*/ 25378883 h 129"/>
              <a:gd name="T96" fmla="*/ 19535595 w 370"/>
              <a:gd name="T97" fmla="*/ 24577232 h 129"/>
              <a:gd name="T98" fmla="*/ 22408232 w 370"/>
              <a:gd name="T99" fmla="*/ 24310015 h 129"/>
              <a:gd name="T100" fmla="*/ 26238852 w 370"/>
              <a:gd name="T101" fmla="*/ 24577232 h 129"/>
              <a:gd name="T102" fmla="*/ 29111927 w 370"/>
              <a:gd name="T103" fmla="*/ 25111666 h 129"/>
              <a:gd name="T104" fmla="*/ 31792880 w 370"/>
              <a:gd name="T105" fmla="*/ 25912799 h 129"/>
              <a:gd name="T106" fmla="*/ 33899655 w 370"/>
              <a:gd name="T107" fmla="*/ 26714450 h 129"/>
              <a:gd name="T108" fmla="*/ 36198115 w 370"/>
              <a:gd name="T109" fmla="*/ 27782801 h 129"/>
              <a:gd name="T110" fmla="*/ 38496575 w 370"/>
              <a:gd name="T111" fmla="*/ 28851668 h 129"/>
              <a:gd name="T112" fmla="*/ 41560896 w 370"/>
              <a:gd name="T113" fmla="*/ 29386102 h 129"/>
              <a:gd name="T114" fmla="*/ 45391516 w 370"/>
              <a:gd name="T115" fmla="*/ 29653319 h 129"/>
              <a:gd name="T116" fmla="*/ 45391516 w 370"/>
              <a:gd name="T117" fmla="*/ 31256103 h 129"/>
              <a:gd name="T118" fmla="*/ 47881223 w 370"/>
              <a:gd name="T119" fmla="*/ 3125610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bg1">
              <a:lumMod val="65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22" name="Freeform 472">
            <a:extLst>
              <a:ext uri="{FF2B5EF4-FFF2-40B4-BE49-F238E27FC236}">
                <a16:creationId xmlns:a16="http://schemas.microsoft.com/office/drawing/2014/main" id="{62F77282-56D3-4286-9ED1-FDA9B69A28DA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3192233" y="4362824"/>
            <a:ext cx="442716" cy="304838"/>
          </a:xfrm>
          <a:custGeom>
            <a:avLst/>
            <a:gdLst>
              <a:gd name="T0" fmla="*/ 34242917 w 312"/>
              <a:gd name="T1" fmla="*/ 45672278 h 155"/>
              <a:gd name="T2" fmla="*/ 34599772 w 312"/>
              <a:gd name="T3" fmla="*/ 44493803 h 155"/>
              <a:gd name="T4" fmla="*/ 35134844 w 312"/>
              <a:gd name="T5" fmla="*/ 43609540 h 155"/>
              <a:gd name="T6" fmla="*/ 35669916 w 312"/>
              <a:gd name="T7" fmla="*/ 42725819 h 155"/>
              <a:gd name="T8" fmla="*/ 36204988 w 312"/>
              <a:gd name="T9" fmla="*/ 41841556 h 155"/>
              <a:gd name="T10" fmla="*/ 37631565 w 312"/>
              <a:gd name="T11" fmla="*/ 40368327 h 155"/>
              <a:gd name="T12" fmla="*/ 39236781 w 312"/>
              <a:gd name="T13" fmla="*/ 38895098 h 155"/>
              <a:gd name="T14" fmla="*/ 42447213 w 312"/>
              <a:gd name="T15" fmla="*/ 36243393 h 155"/>
              <a:gd name="T16" fmla="*/ 45122150 w 312"/>
              <a:gd name="T17" fmla="*/ 34475410 h 155"/>
              <a:gd name="T18" fmla="*/ 45479006 w 312"/>
              <a:gd name="T19" fmla="*/ 32117917 h 155"/>
              <a:gd name="T20" fmla="*/ 46370933 w 312"/>
              <a:gd name="T21" fmla="*/ 28581950 h 155"/>
              <a:gd name="T22" fmla="*/ 47084222 w 312"/>
              <a:gd name="T23" fmla="*/ 26813966 h 155"/>
              <a:gd name="T24" fmla="*/ 47619294 w 312"/>
              <a:gd name="T25" fmla="*/ 25340737 h 155"/>
              <a:gd name="T26" fmla="*/ 47975727 w 312"/>
              <a:gd name="T27" fmla="*/ 24162262 h 155"/>
              <a:gd name="T28" fmla="*/ 48510799 w 312"/>
              <a:gd name="T29" fmla="*/ 23867508 h 155"/>
              <a:gd name="T30" fmla="*/ 55644951 w 312"/>
              <a:gd name="T31" fmla="*/ 12964852 h 155"/>
              <a:gd name="T32" fmla="*/ 55644951 w 312"/>
              <a:gd name="T33" fmla="*/ 11491622 h 155"/>
              <a:gd name="T34" fmla="*/ 55288095 w 312"/>
              <a:gd name="T35" fmla="*/ 10313147 h 155"/>
              <a:gd name="T36" fmla="*/ 54574807 w 312"/>
              <a:gd name="T37" fmla="*/ 9428884 h 155"/>
              <a:gd name="T38" fmla="*/ 53861518 w 312"/>
              <a:gd name="T39" fmla="*/ 8839918 h 155"/>
              <a:gd name="T40" fmla="*/ 51899447 w 312"/>
              <a:gd name="T41" fmla="*/ 8250409 h 155"/>
              <a:gd name="T42" fmla="*/ 49937798 w 312"/>
              <a:gd name="T43" fmla="*/ 7955655 h 155"/>
              <a:gd name="T44" fmla="*/ 47797510 w 312"/>
              <a:gd name="T45" fmla="*/ 7955655 h 155"/>
              <a:gd name="T46" fmla="*/ 46192294 w 312"/>
              <a:gd name="T47" fmla="*/ 7955655 h 155"/>
              <a:gd name="T48" fmla="*/ 45657222 w 312"/>
              <a:gd name="T49" fmla="*/ 7660901 h 155"/>
              <a:gd name="T50" fmla="*/ 45122150 w 312"/>
              <a:gd name="T51" fmla="*/ 7366689 h 155"/>
              <a:gd name="T52" fmla="*/ 44943934 w 312"/>
              <a:gd name="T53" fmla="*/ 6777180 h 155"/>
              <a:gd name="T54" fmla="*/ 45122150 w 312"/>
              <a:gd name="T55" fmla="*/ 5893460 h 155"/>
              <a:gd name="T56" fmla="*/ 41377069 w 312"/>
              <a:gd name="T57" fmla="*/ 5598705 h 155"/>
              <a:gd name="T58" fmla="*/ 38523492 w 312"/>
              <a:gd name="T59" fmla="*/ 5009197 h 155"/>
              <a:gd name="T60" fmla="*/ 36026349 w 312"/>
              <a:gd name="T61" fmla="*/ 3830722 h 155"/>
              <a:gd name="T62" fmla="*/ 33707845 w 312"/>
              <a:gd name="T63" fmla="*/ 2651704 h 155"/>
              <a:gd name="T64" fmla="*/ 31567979 w 312"/>
              <a:gd name="T65" fmla="*/ 1767984 h 155"/>
              <a:gd name="T66" fmla="*/ 29070836 w 312"/>
              <a:gd name="T67" fmla="*/ 883720 h 155"/>
              <a:gd name="T68" fmla="*/ 26039043 w 312"/>
              <a:gd name="T69" fmla="*/ 294754 h 155"/>
              <a:gd name="T70" fmla="*/ 22472178 w 312"/>
              <a:gd name="T71" fmla="*/ 0 h 155"/>
              <a:gd name="T72" fmla="*/ 19618602 w 312"/>
              <a:gd name="T73" fmla="*/ 294754 h 155"/>
              <a:gd name="T74" fmla="*/ 13197738 w 312"/>
              <a:gd name="T75" fmla="*/ 1178475 h 155"/>
              <a:gd name="T76" fmla="*/ 9452657 w 312"/>
              <a:gd name="T77" fmla="*/ 1767984 h 155"/>
              <a:gd name="T78" fmla="*/ 6064008 w 312"/>
              <a:gd name="T79" fmla="*/ 2357492 h 155"/>
              <a:gd name="T80" fmla="*/ 3210432 w 312"/>
              <a:gd name="T81" fmla="*/ 2946458 h 155"/>
              <a:gd name="T82" fmla="*/ 1248360 w 312"/>
              <a:gd name="T83" fmla="*/ 3535967 h 155"/>
              <a:gd name="T84" fmla="*/ 1605216 w 312"/>
              <a:gd name="T85" fmla="*/ 5009197 h 155"/>
              <a:gd name="T86" fmla="*/ 1961649 w 312"/>
              <a:gd name="T87" fmla="*/ 5598705 h 155"/>
              <a:gd name="T88" fmla="*/ 2318504 w 312"/>
              <a:gd name="T89" fmla="*/ 5598705 h 155"/>
              <a:gd name="T90" fmla="*/ 2675360 w 312"/>
              <a:gd name="T91" fmla="*/ 5893460 h 155"/>
              <a:gd name="T92" fmla="*/ 3210432 w 312"/>
              <a:gd name="T93" fmla="*/ 5893460 h 155"/>
              <a:gd name="T94" fmla="*/ 3388648 w 312"/>
              <a:gd name="T95" fmla="*/ 5893460 h 155"/>
              <a:gd name="T96" fmla="*/ 3566865 w 312"/>
              <a:gd name="T97" fmla="*/ 6482426 h 155"/>
              <a:gd name="T98" fmla="*/ 3566865 w 312"/>
              <a:gd name="T99" fmla="*/ 7660901 h 155"/>
              <a:gd name="T100" fmla="*/ 3566865 w 312"/>
              <a:gd name="T101" fmla="*/ 8839918 h 155"/>
              <a:gd name="T102" fmla="*/ 3388648 w 312"/>
              <a:gd name="T103" fmla="*/ 10313147 h 155"/>
              <a:gd name="T104" fmla="*/ 3210432 w 312"/>
              <a:gd name="T105" fmla="*/ 11491622 h 155"/>
              <a:gd name="T106" fmla="*/ 2675360 w 312"/>
              <a:gd name="T107" fmla="*/ 12375886 h 155"/>
              <a:gd name="T108" fmla="*/ 2140288 w 312"/>
              <a:gd name="T109" fmla="*/ 13259606 h 155"/>
              <a:gd name="T110" fmla="*/ 1605216 w 312"/>
              <a:gd name="T111" fmla="*/ 14143869 h 155"/>
              <a:gd name="T112" fmla="*/ 713289 w 312"/>
              <a:gd name="T113" fmla="*/ 14438081 h 155"/>
              <a:gd name="T114" fmla="*/ 0 w 312"/>
              <a:gd name="T115" fmla="*/ 14732835 h 155"/>
              <a:gd name="T116" fmla="*/ 13197738 w 312"/>
              <a:gd name="T117" fmla="*/ 20036786 h 155"/>
              <a:gd name="T118" fmla="*/ 15516242 w 312"/>
              <a:gd name="T119" fmla="*/ 32707426 h 155"/>
              <a:gd name="T120" fmla="*/ 29605908 w 312"/>
              <a:gd name="T121" fmla="*/ 36243393 h 155"/>
              <a:gd name="T122" fmla="*/ 34242917 w 312"/>
              <a:gd name="T123" fmla="*/ 4567227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23" name="Freeform 473">
            <a:extLst>
              <a:ext uri="{FF2B5EF4-FFF2-40B4-BE49-F238E27FC236}">
                <a16:creationId xmlns:a16="http://schemas.microsoft.com/office/drawing/2014/main" id="{35C8833C-885D-4D7B-8395-3CB5B4DAC202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2205455" y="5035766"/>
            <a:ext cx="64008" cy="218559"/>
          </a:xfrm>
          <a:custGeom>
            <a:avLst/>
            <a:gdLst>
              <a:gd name="T0" fmla="*/ 0 w 46"/>
              <a:gd name="T1" fmla="*/ 36391660 h 50"/>
              <a:gd name="T2" fmla="*/ 342900 w 46"/>
              <a:gd name="T3" fmla="*/ 26201561 h 50"/>
              <a:gd name="T4" fmla="*/ 171450 w 46"/>
              <a:gd name="T5" fmla="*/ 20378992 h 50"/>
              <a:gd name="T6" fmla="*/ 342900 w 46"/>
              <a:gd name="T7" fmla="*/ 18923953 h 50"/>
              <a:gd name="T8" fmla="*/ 514350 w 46"/>
              <a:gd name="T9" fmla="*/ 18923953 h 50"/>
              <a:gd name="T10" fmla="*/ 1029114 w 46"/>
              <a:gd name="T11" fmla="*/ 17467707 h 50"/>
              <a:gd name="T12" fmla="*/ 2229678 w 46"/>
              <a:gd name="T13" fmla="*/ 17467707 h 50"/>
              <a:gd name="T14" fmla="*/ 7889185 w 46"/>
              <a:gd name="T15" fmla="*/ 0 h 50"/>
              <a:gd name="T16" fmla="*/ 7889185 w 46"/>
              <a:gd name="T17" fmla="*/ 72782113 h 50"/>
              <a:gd name="T18" fmla="*/ 6860071 w 46"/>
              <a:gd name="T19" fmla="*/ 71327074 h 50"/>
              <a:gd name="T20" fmla="*/ 5659507 w 46"/>
              <a:gd name="T21" fmla="*/ 65504505 h 50"/>
              <a:gd name="T22" fmla="*/ 4287492 w 46"/>
              <a:gd name="T23" fmla="*/ 59681936 h 50"/>
              <a:gd name="T24" fmla="*/ 2915478 w 46"/>
              <a:gd name="T25" fmla="*/ 53859367 h 50"/>
              <a:gd name="T26" fmla="*/ 857664 w 46"/>
              <a:gd name="T27" fmla="*/ 40757983 h 50"/>
              <a:gd name="T28" fmla="*/ 0 w 46"/>
              <a:gd name="T29" fmla="*/ 36391660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24" name="Freeform 481">
            <a:extLst>
              <a:ext uri="{FF2B5EF4-FFF2-40B4-BE49-F238E27FC236}">
                <a16:creationId xmlns:a16="http://schemas.microsoft.com/office/drawing/2014/main" id="{2B36219F-BF99-4936-A209-09E1556C52E1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2880681" y="4778358"/>
            <a:ext cx="64008" cy="207057"/>
          </a:xfrm>
          <a:custGeom>
            <a:avLst/>
            <a:gdLst>
              <a:gd name="T0" fmla="*/ 1744907 w 52"/>
              <a:gd name="T1" fmla="*/ 65322450 h 50"/>
              <a:gd name="T2" fmla="*/ 0 w 52"/>
              <a:gd name="T3" fmla="*/ 41806368 h 50"/>
              <a:gd name="T4" fmla="*/ 268532 w 52"/>
              <a:gd name="T5" fmla="*/ 32661225 h 50"/>
              <a:gd name="T6" fmla="*/ 805229 w 52"/>
              <a:gd name="T7" fmla="*/ 23516082 h 50"/>
              <a:gd name="T8" fmla="*/ 1610458 w 52"/>
              <a:gd name="T9" fmla="*/ 16983837 h 50"/>
              <a:gd name="T10" fmla="*/ 2415687 w 52"/>
              <a:gd name="T11" fmla="*/ 11758041 h 50"/>
              <a:gd name="T12" fmla="*/ 3489447 w 52"/>
              <a:gd name="T13" fmla="*/ 6532245 h 50"/>
              <a:gd name="T14" fmla="*/ 4563208 w 52"/>
              <a:gd name="T15" fmla="*/ 3919347 h 50"/>
              <a:gd name="T16" fmla="*/ 5771051 w 52"/>
              <a:gd name="T17" fmla="*/ 1306449 h 50"/>
              <a:gd name="T18" fmla="*/ 6978894 w 52"/>
              <a:gd name="T19" fmla="*/ 0 h 50"/>
              <a:gd name="T20" fmla="*/ 5368437 w 52"/>
              <a:gd name="T21" fmla="*/ 14370939 h 50"/>
              <a:gd name="T22" fmla="*/ 3623530 w 52"/>
              <a:gd name="T23" fmla="*/ 28741878 h 50"/>
              <a:gd name="T24" fmla="*/ 2952750 w 52"/>
              <a:gd name="T25" fmla="*/ 39193470 h 50"/>
              <a:gd name="T26" fmla="*/ 2281604 w 52"/>
              <a:gd name="T27" fmla="*/ 47032164 h 50"/>
              <a:gd name="T28" fmla="*/ 1878989 w 52"/>
              <a:gd name="T29" fmla="*/ 56177307 h 50"/>
              <a:gd name="T30" fmla="*/ 1744907 w 52"/>
              <a:gd name="T31" fmla="*/ 653224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2700"/>
          </a:p>
        </p:txBody>
      </p:sp>
      <p:sp>
        <p:nvSpPr>
          <p:cNvPr id="125" name="Freeform 482">
            <a:extLst>
              <a:ext uri="{FF2B5EF4-FFF2-40B4-BE49-F238E27FC236}">
                <a16:creationId xmlns:a16="http://schemas.microsoft.com/office/drawing/2014/main" id="{8F177A42-7B0A-4BA3-A18E-4DD32419D13F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2405960" y="5480796"/>
            <a:ext cx="474722" cy="454374"/>
          </a:xfrm>
          <a:custGeom>
            <a:avLst/>
            <a:gdLst>
              <a:gd name="T0" fmla="*/ 14815813 w 320"/>
              <a:gd name="T1" fmla="*/ 66352595 h 234"/>
              <a:gd name="T2" fmla="*/ 11891593 w 320"/>
              <a:gd name="T3" fmla="*/ 64916253 h 234"/>
              <a:gd name="T4" fmla="*/ 12866480 w 320"/>
              <a:gd name="T5" fmla="*/ 63767714 h 234"/>
              <a:gd name="T6" fmla="*/ 15010525 w 320"/>
              <a:gd name="T7" fmla="*/ 62331372 h 234"/>
              <a:gd name="T8" fmla="*/ 12476613 w 320"/>
              <a:gd name="T9" fmla="*/ 58597417 h 234"/>
              <a:gd name="T10" fmla="*/ 8382794 w 320"/>
              <a:gd name="T11" fmla="*/ 54288389 h 234"/>
              <a:gd name="T12" fmla="*/ 7018040 w 320"/>
              <a:gd name="T13" fmla="*/ 51416240 h 234"/>
              <a:gd name="T14" fmla="*/ 6628173 w 320"/>
              <a:gd name="T15" fmla="*/ 49118092 h 234"/>
              <a:gd name="T16" fmla="*/ 6628173 w 320"/>
              <a:gd name="T17" fmla="*/ 47107749 h 234"/>
              <a:gd name="T18" fmla="*/ 7018040 w 320"/>
              <a:gd name="T19" fmla="*/ 45096869 h 234"/>
              <a:gd name="T20" fmla="*/ 8382794 w 320"/>
              <a:gd name="T21" fmla="*/ 42798721 h 234"/>
              <a:gd name="T22" fmla="*/ 10916706 w 320"/>
              <a:gd name="T23" fmla="*/ 40501109 h 234"/>
              <a:gd name="T24" fmla="*/ 14230792 w 320"/>
              <a:gd name="T25" fmla="*/ 39352035 h 234"/>
              <a:gd name="T26" fmla="*/ 15595546 w 320"/>
              <a:gd name="T27" fmla="*/ 36192617 h 234"/>
              <a:gd name="T28" fmla="*/ 13061193 w 320"/>
              <a:gd name="T29" fmla="*/ 31883589 h 234"/>
              <a:gd name="T30" fmla="*/ 11891593 w 320"/>
              <a:gd name="T31" fmla="*/ 29298709 h 234"/>
              <a:gd name="T32" fmla="*/ 11696880 w 320"/>
              <a:gd name="T33" fmla="*/ 24702948 h 234"/>
              <a:gd name="T34" fmla="*/ 10721993 w 320"/>
              <a:gd name="T35" fmla="*/ 20106652 h 234"/>
              <a:gd name="T36" fmla="*/ 8967373 w 320"/>
              <a:gd name="T37" fmla="*/ 13213280 h 234"/>
              <a:gd name="T38" fmla="*/ 6433019 w 320"/>
              <a:gd name="T39" fmla="*/ 8904252 h 234"/>
              <a:gd name="T40" fmla="*/ 3899107 w 320"/>
              <a:gd name="T41" fmla="*/ 7181177 h 234"/>
              <a:gd name="T42" fmla="*/ 1364754 w 320"/>
              <a:gd name="T43" fmla="*/ 2872149 h 234"/>
              <a:gd name="T44" fmla="*/ 1754620 w 320"/>
              <a:gd name="T45" fmla="*/ 0 h 234"/>
              <a:gd name="T46" fmla="*/ 4678840 w 320"/>
              <a:gd name="T47" fmla="*/ 0 h 234"/>
              <a:gd name="T48" fmla="*/ 7407906 w 320"/>
              <a:gd name="T49" fmla="*/ 861806 h 234"/>
              <a:gd name="T50" fmla="*/ 10916706 w 320"/>
              <a:gd name="T51" fmla="*/ 4595760 h 234"/>
              <a:gd name="T52" fmla="*/ 15205679 w 320"/>
              <a:gd name="T53" fmla="*/ 10053326 h 234"/>
              <a:gd name="T54" fmla="*/ 18714479 w 320"/>
              <a:gd name="T55" fmla="*/ 13787817 h 234"/>
              <a:gd name="T56" fmla="*/ 23198165 w 320"/>
              <a:gd name="T57" fmla="*/ 16659966 h 234"/>
              <a:gd name="T58" fmla="*/ 29631626 w 320"/>
              <a:gd name="T59" fmla="*/ 20106652 h 234"/>
              <a:gd name="T60" fmla="*/ 35284912 w 320"/>
              <a:gd name="T61" fmla="*/ 22692069 h 234"/>
              <a:gd name="T62" fmla="*/ 41717931 w 320"/>
              <a:gd name="T63" fmla="*/ 24415680 h 234"/>
              <a:gd name="T64" fmla="*/ 46006905 w 320"/>
              <a:gd name="T65" fmla="*/ 22117532 h 234"/>
              <a:gd name="T66" fmla="*/ 50100725 w 320"/>
              <a:gd name="T67" fmla="*/ 23841143 h 234"/>
              <a:gd name="T68" fmla="*/ 55364144 w 320"/>
              <a:gd name="T69" fmla="*/ 30735051 h 234"/>
              <a:gd name="T70" fmla="*/ 59457964 w 320"/>
              <a:gd name="T71" fmla="*/ 34181737 h 234"/>
              <a:gd name="T72" fmla="*/ 57898498 w 320"/>
              <a:gd name="T73" fmla="*/ 38202961 h 234"/>
              <a:gd name="T74" fmla="*/ 52245212 w 320"/>
              <a:gd name="T75" fmla="*/ 41362914 h 234"/>
              <a:gd name="T76" fmla="*/ 48541259 w 320"/>
              <a:gd name="T77" fmla="*/ 42511452 h 234"/>
              <a:gd name="T78" fmla="*/ 46201618 w 320"/>
              <a:gd name="T79" fmla="*/ 45671406 h 234"/>
              <a:gd name="T80" fmla="*/ 45227172 w 320"/>
              <a:gd name="T81" fmla="*/ 50554435 h 234"/>
              <a:gd name="T82" fmla="*/ 45032018 w 320"/>
              <a:gd name="T83" fmla="*/ 53713852 h 234"/>
              <a:gd name="T84" fmla="*/ 43277839 w 320"/>
              <a:gd name="T85" fmla="*/ 55150195 h 234"/>
              <a:gd name="T86" fmla="*/ 39768598 w 320"/>
              <a:gd name="T87" fmla="*/ 54288389 h 234"/>
              <a:gd name="T88" fmla="*/ 36259799 w 320"/>
              <a:gd name="T89" fmla="*/ 51990777 h 234"/>
              <a:gd name="T90" fmla="*/ 32750558 w 320"/>
              <a:gd name="T91" fmla="*/ 48830824 h 234"/>
              <a:gd name="T92" fmla="*/ 30216205 w 320"/>
              <a:gd name="T93" fmla="*/ 47107749 h 234"/>
              <a:gd name="T94" fmla="*/ 28266872 w 320"/>
              <a:gd name="T95" fmla="*/ 46245943 h 234"/>
              <a:gd name="T96" fmla="*/ 25537806 w 320"/>
              <a:gd name="T97" fmla="*/ 46533211 h 234"/>
              <a:gd name="T98" fmla="*/ 22223719 w 320"/>
              <a:gd name="T99" fmla="*/ 47969018 h 234"/>
              <a:gd name="T100" fmla="*/ 19494653 w 320"/>
              <a:gd name="T101" fmla="*/ 49692629 h 234"/>
              <a:gd name="T102" fmla="*/ 16960300 w 320"/>
              <a:gd name="T103" fmla="*/ 51128972 h 234"/>
              <a:gd name="T104" fmla="*/ 16570433 w 320"/>
              <a:gd name="T105" fmla="*/ 52565314 h 234"/>
              <a:gd name="T106" fmla="*/ 18714479 w 320"/>
              <a:gd name="T107" fmla="*/ 54862926 h 234"/>
              <a:gd name="T108" fmla="*/ 22613586 w 320"/>
              <a:gd name="T109" fmla="*/ 57448343 h 234"/>
              <a:gd name="T110" fmla="*/ 24562919 w 320"/>
              <a:gd name="T111" fmla="*/ 60895029 h 234"/>
              <a:gd name="T112" fmla="*/ 22028565 w 320"/>
              <a:gd name="T113" fmla="*/ 64342251 h 234"/>
              <a:gd name="T114" fmla="*/ 19884520 w 320"/>
              <a:gd name="T115" fmla="*/ 66352595 h 234"/>
              <a:gd name="T116" fmla="*/ 17740033 w 320"/>
              <a:gd name="T117" fmla="*/ 67214401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26" name="Freeform 483">
            <a:extLst>
              <a:ext uri="{FF2B5EF4-FFF2-40B4-BE49-F238E27FC236}">
                <a16:creationId xmlns:a16="http://schemas.microsoft.com/office/drawing/2014/main" id="{86F80E7D-E637-4D92-BD2F-CFA88B839A12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12304620" y="6763403"/>
            <a:ext cx="176019" cy="207057"/>
          </a:xfrm>
          <a:custGeom>
            <a:avLst/>
            <a:gdLst>
              <a:gd name="T0" fmla="*/ 5796098 w 125"/>
              <a:gd name="T1" fmla="*/ 7175090 h 93"/>
              <a:gd name="T2" fmla="*/ 7552529 w 125"/>
              <a:gd name="T3" fmla="*/ 7175090 h 93"/>
              <a:gd name="T4" fmla="*/ 9133359 w 125"/>
              <a:gd name="T5" fmla="*/ 7175090 h 93"/>
              <a:gd name="T6" fmla="*/ 9660163 w 125"/>
              <a:gd name="T7" fmla="*/ 7175090 h 93"/>
              <a:gd name="T8" fmla="*/ 10187386 w 125"/>
              <a:gd name="T9" fmla="*/ 6419850 h 93"/>
              <a:gd name="T10" fmla="*/ 10714189 w 125"/>
              <a:gd name="T11" fmla="*/ 5664610 h 93"/>
              <a:gd name="T12" fmla="*/ 11416594 w 125"/>
              <a:gd name="T13" fmla="*/ 4154129 h 93"/>
              <a:gd name="T14" fmla="*/ 11943817 w 125"/>
              <a:gd name="T15" fmla="*/ 3020961 h 93"/>
              <a:gd name="T16" fmla="*/ 12295019 w 125"/>
              <a:gd name="T17" fmla="*/ 1888408 h 93"/>
              <a:gd name="T18" fmla="*/ 12646222 w 125"/>
              <a:gd name="T19" fmla="*/ 1133168 h 93"/>
              <a:gd name="T20" fmla="*/ 12646222 w 125"/>
              <a:gd name="T21" fmla="*/ 0 h 93"/>
              <a:gd name="T22" fmla="*/ 20725554 w 125"/>
              <a:gd name="T23" fmla="*/ 0 h 93"/>
              <a:gd name="T24" fmla="*/ 21428378 w 125"/>
              <a:gd name="T25" fmla="*/ 5664610 h 93"/>
              <a:gd name="T26" fmla="*/ 21955182 w 125"/>
              <a:gd name="T27" fmla="*/ 9440811 h 93"/>
              <a:gd name="T28" fmla="*/ 21779581 w 125"/>
              <a:gd name="T29" fmla="*/ 10951292 h 93"/>
              <a:gd name="T30" fmla="*/ 21428378 w 125"/>
              <a:gd name="T31" fmla="*/ 12461773 h 93"/>
              <a:gd name="T32" fmla="*/ 20901156 w 125"/>
              <a:gd name="T33" fmla="*/ 13217013 h 93"/>
              <a:gd name="T34" fmla="*/ 20549953 w 125"/>
              <a:gd name="T35" fmla="*/ 13972253 h 93"/>
              <a:gd name="T36" fmla="*/ 19496346 w 125"/>
              <a:gd name="T37" fmla="*/ 15105421 h 93"/>
              <a:gd name="T38" fmla="*/ 18266718 w 125"/>
              <a:gd name="T39" fmla="*/ 15482734 h 93"/>
              <a:gd name="T40" fmla="*/ 15456260 w 125"/>
              <a:gd name="T41" fmla="*/ 15482734 h 93"/>
              <a:gd name="T42" fmla="*/ 12646222 w 125"/>
              <a:gd name="T43" fmla="*/ 16237974 h 93"/>
              <a:gd name="T44" fmla="*/ 12295019 w 125"/>
              <a:gd name="T45" fmla="*/ 17748455 h 93"/>
              <a:gd name="T46" fmla="*/ 12119418 w 125"/>
              <a:gd name="T47" fmla="*/ 20014176 h 93"/>
              <a:gd name="T48" fmla="*/ 11767797 w 125"/>
              <a:gd name="T49" fmla="*/ 23035137 h 93"/>
              <a:gd name="T50" fmla="*/ 11767797 w 125"/>
              <a:gd name="T51" fmla="*/ 26811953 h 93"/>
              <a:gd name="T52" fmla="*/ 11592195 w 125"/>
              <a:gd name="T53" fmla="*/ 32475948 h 93"/>
              <a:gd name="T54" fmla="*/ 11592195 w 125"/>
              <a:gd name="T55" fmla="*/ 35119597 h 93"/>
              <a:gd name="T56" fmla="*/ 8606555 w 125"/>
              <a:gd name="T57" fmla="*/ 32098635 h 93"/>
              <a:gd name="T58" fmla="*/ 4742490 w 125"/>
              <a:gd name="T59" fmla="*/ 27567194 h 93"/>
              <a:gd name="T60" fmla="*/ 2810458 w 125"/>
              <a:gd name="T61" fmla="*/ 24546232 h 93"/>
              <a:gd name="T62" fmla="*/ 1229628 w 125"/>
              <a:gd name="T63" fmla="*/ 21902584 h 93"/>
              <a:gd name="T64" fmla="*/ 702405 w 125"/>
              <a:gd name="T65" fmla="*/ 20392103 h 93"/>
              <a:gd name="T66" fmla="*/ 351202 w 125"/>
              <a:gd name="T67" fmla="*/ 18881623 h 93"/>
              <a:gd name="T68" fmla="*/ 0 w 125"/>
              <a:gd name="T69" fmla="*/ 17748455 h 93"/>
              <a:gd name="T70" fmla="*/ 0 w 125"/>
              <a:gd name="T71" fmla="*/ 16237974 h 93"/>
              <a:gd name="T72" fmla="*/ 1229628 w 125"/>
              <a:gd name="T73" fmla="*/ 16237974 h 93"/>
              <a:gd name="T74" fmla="*/ 2634437 w 125"/>
              <a:gd name="T75" fmla="*/ 15482734 h 93"/>
              <a:gd name="T76" fmla="*/ 3512863 w 125"/>
              <a:gd name="T77" fmla="*/ 14727494 h 93"/>
              <a:gd name="T78" fmla="*/ 4039666 w 125"/>
              <a:gd name="T79" fmla="*/ 13594940 h 93"/>
              <a:gd name="T80" fmla="*/ 4918092 w 125"/>
              <a:gd name="T81" fmla="*/ 10573365 h 93"/>
              <a:gd name="T82" fmla="*/ 5796098 w 125"/>
              <a:gd name="T83" fmla="*/ 7175090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27" name="Freeform 484">
            <a:extLst>
              <a:ext uri="{FF2B5EF4-FFF2-40B4-BE49-F238E27FC236}">
                <a16:creationId xmlns:a16="http://schemas.microsoft.com/office/drawing/2014/main" id="{AADD2949-8F43-40E9-A2BD-44AD262D4EBB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12123268" y="6815171"/>
            <a:ext cx="202689" cy="304832"/>
          </a:xfrm>
          <a:custGeom>
            <a:avLst/>
            <a:gdLst>
              <a:gd name="T0" fmla="*/ 4114346 w 133"/>
              <a:gd name="T1" fmla="*/ 3581832 h 154"/>
              <a:gd name="T2" fmla="*/ 4937579 w 133"/>
              <a:gd name="T3" fmla="*/ 2984678 h 154"/>
              <a:gd name="T4" fmla="*/ 6377668 w 133"/>
              <a:gd name="T5" fmla="*/ 1790916 h 154"/>
              <a:gd name="T6" fmla="*/ 6994525 w 133"/>
              <a:gd name="T7" fmla="*/ 1193762 h 154"/>
              <a:gd name="T8" fmla="*/ 7611836 w 133"/>
              <a:gd name="T9" fmla="*/ 597154 h 154"/>
              <a:gd name="T10" fmla="*/ 8640536 w 133"/>
              <a:gd name="T11" fmla="*/ 298304 h 154"/>
              <a:gd name="T12" fmla="*/ 9463314 w 133"/>
              <a:gd name="T13" fmla="*/ 0 h 154"/>
              <a:gd name="T14" fmla="*/ 12138025 w 133"/>
              <a:gd name="T15" fmla="*/ 298304 h 154"/>
              <a:gd name="T16" fmla="*/ 14400893 w 133"/>
              <a:gd name="T17" fmla="*/ 1193762 h 154"/>
              <a:gd name="T18" fmla="*/ 16663761 w 133"/>
              <a:gd name="T19" fmla="*/ 2388070 h 154"/>
              <a:gd name="T20" fmla="*/ 18515239 w 133"/>
              <a:gd name="T21" fmla="*/ 4178986 h 154"/>
              <a:gd name="T22" fmla="*/ 20367171 w 133"/>
              <a:gd name="T23" fmla="*/ 6268207 h 154"/>
              <a:gd name="T24" fmla="*/ 21601339 w 133"/>
              <a:gd name="T25" fmla="*/ 8954581 h 154"/>
              <a:gd name="T26" fmla="*/ 23041429 w 133"/>
              <a:gd name="T27" fmla="*/ 11939805 h 154"/>
              <a:gd name="T28" fmla="*/ 23864207 w 133"/>
              <a:gd name="T29" fmla="*/ 14924483 h 154"/>
              <a:gd name="T30" fmla="*/ 24892907 w 133"/>
              <a:gd name="T31" fmla="*/ 17909708 h 154"/>
              <a:gd name="T32" fmla="*/ 25510218 w 133"/>
              <a:gd name="T33" fmla="*/ 21192690 h 154"/>
              <a:gd name="T34" fmla="*/ 26127529 w 133"/>
              <a:gd name="T35" fmla="*/ 24476218 h 154"/>
              <a:gd name="T36" fmla="*/ 26744386 w 133"/>
              <a:gd name="T37" fmla="*/ 28058050 h 154"/>
              <a:gd name="T38" fmla="*/ 27155775 w 133"/>
              <a:gd name="T39" fmla="*/ 34625107 h 154"/>
              <a:gd name="T40" fmla="*/ 27361696 w 133"/>
              <a:gd name="T41" fmla="*/ 40296160 h 154"/>
              <a:gd name="T42" fmla="*/ 27155775 w 133"/>
              <a:gd name="T43" fmla="*/ 41191618 h 154"/>
              <a:gd name="T44" fmla="*/ 26744386 w 133"/>
              <a:gd name="T45" fmla="*/ 42087622 h 154"/>
              <a:gd name="T46" fmla="*/ 25715686 w 133"/>
              <a:gd name="T47" fmla="*/ 42983080 h 154"/>
              <a:gd name="T48" fmla="*/ 24892907 w 133"/>
              <a:gd name="T49" fmla="*/ 43878538 h 154"/>
              <a:gd name="T50" fmla="*/ 23658739 w 133"/>
              <a:gd name="T51" fmla="*/ 44773996 h 154"/>
              <a:gd name="T52" fmla="*/ 22630039 w 133"/>
              <a:gd name="T53" fmla="*/ 45669454 h 154"/>
              <a:gd name="T54" fmla="*/ 21395418 w 133"/>
              <a:gd name="T55" fmla="*/ 45967758 h 154"/>
              <a:gd name="T56" fmla="*/ 20367171 w 133"/>
              <a:gd name="T57" fmla="*/ 45967758 h 154"/>
              <a:gd name="T58" fmla="*/ 19132550 w 133"/>
              <a:gd name="T59" fmla="*/ 45669454 h 154"/>
              <a:gd name="T60" fmla="*/ 17898382 w 133"/>
              <a:gd name="T61" fmla="*/ 44475146 h 154"/>
              <a:gd name="T62" fmla="*/ 16252371 w 133"/>
              <a:gd name="T63" fmla="*/ 42087622 h 154"/>
              <a:gd name="T64" fmla="*/ 14606814 w 133"/>
              <a:gd name="T65" fmla="*/ 39997856 h 154"/>
              <a:gd name="T66" fmla="*/ 13166725 w 133"/>
              <a:gd name="T67" fmla="*/ 37609785 h 154"/>
              <a:gd name="T68" fmla="*/ 11932104 w 133"/>
              <a:gd name="T69" fmla="*/ 35222261 h 154"/>
              <a:gd name="T70" fmla="*/ 11109325 w 133"/>
              <a:gd name="T71" fmla="*/ 33132495 h 154"/>
              <a:gd name="T72" fmla="*/ 10903404 w 133"/>
              <a:gd name="T73" fmla="*/ 31341579 h 154"/>
              <a:gd name="T74" fmla="*/ 11109325 w 133"/>
              <a:gd name="T75" fmla="*/ 29252359 h 154"/>
              <a:gd name="T76" fmla="*/ 11520714 w 133"/>
              <a:gd name="T77" fmla="*/ 24775068 h 154"/>
              <a:gd name="T78" fmla="*/ 11932104 w 133"/>
              <a:gd name="T79" fmla="*/ 20297232 h 154"/>
              <a:gd name="T80" fmla="*/ 12138025 w 133"/>
              <a:gd name="T81" fmla="*/ 18506316 h 154"/>
              <a:gd name="T82" fmla="*/ 9669236 w 133"/>
              <a:gd name="T83" fmla="*/ 18208012 h 154"/>
              <a:gd name="T84" fmla="*/ 7406368 w 133"/>
              <a:gd name="T85" fmla="*/ 17610858 h 154"/>
              <a:gd name="T86" fmla="*/ 5143046 w 133"/>
              <a:gd name="T87" fmla="*/ 16715399 h 154"/>
              <a:gd name="T88" fmla="*/ 3497489 w 133"/>
              <a:gd name="T89" fmla="*/ 15521637 h 154"/>
              <a:gd name="T90" fmla="*/ 2674257 w 133"/>
              <a:gd name="T91" fmla="*/ 14626179 h 154"/>
              <a:gd name="T92" fmla="*/ 2057400 w 133"/>
              <a:gd name="T93" fmla="*/ 13730721 h 154"/>
              <a:gd name="T94" fmla="*/ 1440089 w 133"/>
              <a:gd name="T95" fmla="*/ 12835263 h 154"/>
              <a:gd name="T96" fmla="*/ 822779 w 133"/>
              <a:gd name="T97" fmla="*/ 11640955 h 154"/>
              <a:gd name="T98" fmla="*/ 411389 w 133"/>
              <a:gd name="T99" fmla="*/ 10148889 h 154"/>
              <a:gd name="T100" fmla="*/ 205921 w 133"/>
              <a:gd name="T101" fmla="*/ 8656277 h 154"/>
              <a:gd name="T102" fmla="*/ 0 w 133"/>
              <a:gd name="T103" fmla="*/ 7163665 h 154"/>
              <a:gd name="T104" fmla="*/ 0 w 133"/>
              <a:gd name="T105" fmla="*/ 5372748 h 154"/>
              <a:gd name="T106" fmla="*/ 1440089 w 133"/>
              <a:gd name="T107" fmla="*/ 4477290 h 154"/>
              <a:gd name="T108" fmla="*/ 4114346 w 133"/>
              <a:gd name="T109" fmla="*/ 3581832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28" name="Freeform 485">
            <a:extLst>
              <a:ext uri="{FF2B5EF4-FFF2-40B4-BE49-F238E27FC236}">
                <a16:creationId xmlns:a16="http://schemas.microsoft.com/office/drawing/2014/main" id="{4BCB05E1-CA7F-41F9-838E-03169351D5B2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2176604" y="5952434"/>
            <a:ext cx="704078" cy="885746"/>
          </a:xfrm>
          <a:custGeom>
            <a:avLst/>
            <a:gdLst>
              <a:gd name="T0" fmla="*/ 25014653 w 485"/>
              <a:gd name="T1" fmla="*/ 95781962 h 468"/>
              <a:gd name="T2" fmla="*/ 31174991 w 485"/>
              <a:gd name="T3" fmla="*/ 92507668 h 468"/>
              <a:gd name="T4" fmla="*/ 37335329 w 485"/>
              <a:gd name="T5" fmla="*/ 92507668 h 468"/>
              <a:gd name="T6" fmla="*/ 42189112 w 485"/>
              <a:gd name="T7" fmla="*/ 94963388 h 468"/>
              <a:gd name="T8" fmla="*/ 41815811 w 485"/>
              <a:gd name="T9" fmla="*/ 89232853 h 468"/>
              <a:gd name="T10" fmla="*/ 41069208 w 485"/>
              <a:gd name="T11" fmla="*/ 86231243 h 468"/>
              <a:gd name="T12" fmla="*/ 43495667 w 485"/>
              <a:gd name="T13" fmla="*/ 82683743 h 468"/>
              <a:gd name="T14" fmla="*/ 44616003 w 485"/>
              <a:gd name="T15" fmla="*/ 75316061 h 468"/>
              <a:gd name="T16" fmla="*/ 45175956 w 485"/>
              <a:gd name="T17" fmla="*/ 67129283 h 468"/>
              <a:gd name="T18" fmla="*/ 50029738 w 485"/>
              <a:gd name="T19" fmla="*/ 69585525 h 468"/>
              <a:gd name="T20" fmla="*/ 56003426 w 485"/>
              <a:gd name="T21" fmla="*/ 64946246 h 468"/>
              <a:gd name="T22" fmla="*/ 58990269 w 485"/>
              <a:gd name="T23" fmla="*/ 59215711 h 468"/>
              <a:gd name="T24" fmla="*/ 54696439 w 485"/>
              <a:gd name="T25" fmla="*/ 52939285 h 468"/>
              <a:gd name="T26" fmla="*/ 59363571 w 485"/>
              <a:gd name="T27" fmla="*/ 54303748 h 468"/>
              <a:gd name="T28" fmla="*/ 64030271 w 485"/>
              <a:gd name="T29" fmla="*/ 55122322 h 468"/>
              <a:gd name="T30" fmla="*/ 64590223 w 485"/>
              <a:gd name="T31" fmla="*/ 50483565 h 468"/>
              <a:gd name="T32" fmla="*/ 55069740 w 485"/>
              <a:gd name="T33" fmla="*/ 26196959 h 468"/>
              <a:gd name="T34" fmla="*/ 53203233 w 485"/>
              <a:gd name="T35" fmla="*/ 14462681 h 468"/>
              <a:gd name="T36" fmla="*/ 54323137 w 485"/>
              <a:gd name="T37" fmla="*/ 5184646 h 468"/>
              <a:gd name="T38" fmla="*/ 58990269 w 485"/>
              <a:gd name="T39" fmla="*/ 272684 h 468"/>
              <a:gd name="T40" fmla="*/ 62723716 w 485"/>
              <a:gd name="T41" fmla="*/ 4911962 h 468"/>
              <a:gd name="T42" fmla="*/ 70377259 w 485"/>
              <a:gd name="T43" fmla="*/ 12279645 h 468"/>
              <a:gd name="T44" fmla="*/ 77471283 w 485"/>
              <a:gd name="T45" fmla="*/ 19647850 h 468"/>
              <a:gd name="T46" fmla="*/ 79524441 w 485"/>
              <a:gd name="T47" fmla="*/ 26742326 h 468"/>
              <a:gd name="T48" fmla="*/ 81391380 w 485"/>
              <a:gd name="T49" fmla="*/ 37384824 h 468"/>
              <a:gd name="T50" fmla="*/ 83071669 w 485"/>
              <a:gd name="T51" fmla="*/ 47208749 h 468"/>
              <a:gd name="T52" fmla="*/ 79897742 w 485"/>
              <a:gd name="T53" fmla="*/ 48845896 h 468"/>
              <a:gd name="T54" fmla="*/ 76910899 w 485"/>
              <a:gd name="T55" fmla="*/ 50483565 h 468"/>
              <a:gd name="T56" fmla="*/ 79524441 w 485"/>
              <a:gd name="T57" fmla="*/ 54303748 h 468"/>
              <a:gd name="T58" fmla="*/ 83071669 w 485"/>
              <a:gd name="T59" fmla="*/ 55395528 h 468"/>
              <a:gd name="T60" fmla="*/ 84938176 w 485"/>
              <a:gd name="T61" fmla="*/ 71495356 h 468"/>
              <a:gd name="T62" fmla="*/ 88671623 w 485"/>
              <a:gd name="T63" fmla="*/ 85139464 h 468"/>
              <a:gd name="T64" fmla="*/ 89605308 w 485"/>
              <a:gd name="T65" fmla="*/ 103968740 h 468"/>
              <a:gd name="T66" fmla="*/ 86431814 w 485"/>
              <a:gd name="T67" fmla="*/ 99329461 h 468"/>
              <a:gd name="T68" fmla="*/ 84564875 w 485"/>
              <a:gd name="T69" fmla="*/ 97146425 h 468"/>
              <a:gd name="T70" fmla="*/ 81391380 w 485"/>
              <a:gd name="T71" fmla="*/ 99056778 h 468"/>
              <a:gd name="T72" fmla="*/ 80084825 w 485"/>
              <a:gd name="T73" fmla="*/ 108880702 h 468"/>
              <a:gd name="T74" fmla="*/ 76164296 w 485"/>
              <a:gd name="T75" fmla="*/ 106151776 h 468"/>
              <a:gd name="T76" fmla="*/ 72617500 w 485"/>
              <a:gd name="T77" fmla="*/ 104241424 h 468"/>
              <a:gd name="T78" fmla="*/ 70190609 w 485"/>
              <a:gd name="T79" fmla="*/ 109699276 h 468"/>
              <a:gd name="T80" fmla="*/ 64403572 w 485"/>
              <a:gd name="T81" fmla="*/ 112700885 h 468"/>
              <a:gd name="T82" fmla="*/ 62350414 w 485"/>
              <a:gd name="T83" fmla="*/ 109153386 h 468"/>
              <a:gd name="T84" fmla="*/ 58243234 w 485"/>
              <a:gd name="T85" fmla="*/ 107788923 h 468"/>
              <a:gd name="T86" fmla="*/ 56563378 w 485"/>
              <a:gd name="T87" fmla="*/ 116248385 h 468"/>
              <a:gd name="T88" fmla="*/ 55816343 w 485"/>
              <a:gd name="T89" fmla="*/ 122797494 h 468"/>
              <a:gd name="T90" fmla="*/ 57309981 w 485"/>
              <a:gd name="T91" fmla="*/ 127163567 h 468"/>
              <a:gd name="T92" fmla="*/ 50776341 w 485"/>
              <a:gd name="T93" fmla="*/ 127709456 h 468"/>
              <a:gd name="T94" fmla="*/ 48162799 w 485"/>
              <a:gd name="T95" fmla="*/ 126890883 h 468"/>
              <a:gd name="T96" fmla="*/ 45549257 w 485"/>
              <a:gd name="T97" fmla="*/ 120068568 h 468"/>
              <a:gd name="T98" fmla="*/ 42749064 w 485"/>
              <a:gd name="T99" fmla="*/ 114065349 h 468"/>
              <a:gd name="T100" fmla="*/ 38082364 w 485"/>
              <a:gd name="T101" fmla="*/ 110790533 h 468"/>
              <a:gd name="T102" fmla="*/ 35468822 w 485"/>
              <a:gd name="T103" fmla="*/ 107516239 h 468"/>
              <a:gd name="T104" fmla="*/ 25387955 w 485"/>
              <a:gd name="T105" fmla="*/ 113792142 h 468"/>
              <a:gd name="T106" fmla="*/ 16801157 w 485"/>
              <a:gd name="T107" fmla="*/ 118704105 h 468"/>
              <a:gd name="T108" fmla="*/ 12134025 w 485"/>
              <a:gd name="T109" fmla="*/ 125253736 h 468"/>
              <a:gd name="T110" fmla="*/ 5040434 w 485"/>
              <a:gd name="T111" fmla="*/ 125799104 h 468"/>
              <a:gd name="T112" fmla="*/ 1306555 w 485"/>
              <a:gd name="T113" fmla="*/ 119523201 h 468"/>
              <a:gd name="T114" fmla="*/ 0 w 485"/>
              <a:gd name="T115" fmla="*/ 113792142 h 468"/>
              <a:gd name="T116" fmla="*/ 1306555 w 485"/>
              <a:gd name="T117" fmla="*/ 112700885 h 468"/>
              <a:gd name="T118" fmla="*/ 5040434 w 485"/>
              <a:gd name="T119" fmla="*/ 112973569 h 468"/>
              <a:gd name="T120" fmla="*/ 8960531 w 485"/>
              <a:gd name="T121" fmla="*/ 110517849 h 468"/>
              <a:gd name="T122" fmla="*/ 13440580 w 485"/>
              <a:gd name="T123" fmla="*/ 100693924 h 468"/>
              <a:gd name="T124" fmla="*/ 17361109 w 485"/>
              <a:gd name="T125" fmla="*/ 96055168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29" name="Freeform 516">
            <a:extLst>
              <a:ext uri="{FF2B5EF4-FFF2-40B4-BE49-F238E27FC236}">
                <a16:creationId xmlns:a16="http://schemas.microsoft.com/office/drawing/2014/main" id="{E0390428-0C16-402C-8F29-A2F6F6C1A359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3003363" y="4720841"/>
            <a:ext cx="0" cy="212811"/>
          </a:xfrm>
          <a:custGeom>
            <a:avLst/>
            <a:gdLst>
              <a:gd name="T0" fmla="*/ 115005088 h 30"/>
              <a:gd name="T1" fmla="*/ 95836921 h 30"/>
              <a:gd name="T2" fmla="*/ 69003444 h 30"/>
              <a:gd name="T3" fmla="*/ 34500743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2700"/>
          </a:p>
        </p:txBody>
      </p:sp>
      <p:sp>
        <p:nvSpPr>
          <p:cNvPr id="130" name="Freeform 517">
            <a:extLst>
              <a:ext uri="{FF2B5EF4-FFF2-40B4-BE49-F238E27FC236}">
                <a16:creationId xmlns:a16="http://schemas.microsoft.com/office/drawing/2014/main" id="{74F04818-6394-42FA-A7F0-CC382C409CF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13003363" y="4720841"/>
            <a:ext cx="26670" cy="212811"/>
          </a:xfrm>
          <a:custGeom>
            <a:avLst/>
            <a:gdLst>
              <a:gd name="T0" fmla="*/ 0 w 20"/>
              <a:gd name="T1" fmla="*/ 0 h 24"/>
              <a:gd name="T2" fmla="*/ 3150592 w 20"/>
              <a:gd name="T3" fmla="*/ 0 h 24"/>
              <a:gd name="T4" fmla="*/ 0 w 20"/>
              <a:gd name="T5" fmla="*/ 143756360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2700"/>
          </a:p>
        </p:txBody>
      </p:sp>
      <p:sp>
        <p:nvSpPr>
          <p:cNvPr id="131" name="Freeform 519">
            <a:extLst>
              <a:ext uri="{FF2B5EF4-FFF2-40B4-BE49-F238E27FC236}">
                <a16:creationId xmlns:a16="http://schemas.microsoft.com/office/drawing/2014/main" id="{9C041D2E-2C50-4C1E-B3BB-DE22A2D130A7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3144229" y="4466355"/>
            <a:ext cx="160019" cy="212811"/>
          </a:xfrm>
          <a:custGeom>
            <a:avLst/>
            <a:gdLst>
              <a:gd name="T0" fmla="*/ 7484745 w 100"/>
              <a:gd name="T1" fmla="*/ 0 h 55"/>
              <a:gd name="T2" fmla="*/ 22681406 w 100"/>
              <a:gd name="T3" fmla="*/ 13687022 h 55"/>
              <a:gd name="T4" fmla="*/ 22681406 w 100"/>
              <a:gd name="T5" fmla="*/ 62730048 h 55"/>
              <a:gd name="T6" fmla="*/ 2948464 w 100"/>
              <a:gd name="T7" fmla="*/ 62730048 h 55"/>
              <a:gd name="T8" fmla="*/ 0 w 100"/>
              <a:gd name="T9" fmla="*/ 49043026 h 55"/>
              <a:gd name="T10" fmla="*/ 226695 w 100"/>
              <a:gd name="T11" fmla="*/ 43341168 h 55"/>
              <a:gd name="T12" fmla="*/ 907256 w 100"/>
              <a:gd name="T13" fmla="*/ 36497657 h 55"/>
              <a:gd name="T14" fmla="*/ 2268379 w 100"/>
              <a:gd name="T15" fmla="*/ 28513561 h 55"/>
              <a:gd name="T16" fmla="*/ 3629025 w 100"/>
              <a:gd name="T17" fmla="*/ 20529465 h 55"/>
              <a:gd name="T18" fmla="*/ 6124099 w 100"/>
              <a:gd name="T19" fmla="*/ 5702926 h 55"/>
              <a:gd name="T20" fmla="*/ 7484745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32" name="Freeform 523">
            <a:extLst>
              <a:ext uri="{FF2B5EF4-FFF2-40B4-BE49-F238E27FC236}">
                <a16:creationId xmlns:a16="http://schemas.microsoft.com/office/drawing/2014/main" id="{753E9109-32C9-4FEF-B4FE-0E3CD9DCD144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1829897" y="4474267"/>
            <a:ext cx="661407" cy="972020"/>
          </a:xfrm>
          <a:custGeom>
            <a:avLst/>
            <a:gdLst>
              <a:gd name="T0" fmla="*/ 4782297 w 459"/>
              <a:gd name="T1" fmla="*/ 12404251 h 511"/>
              <a:gd name="T2" fmla="*/ 2206950 w 459"/>
              <a:gd name="T3" fmla="*/ 6891484 h 511"/>
              <a:gd name="T4" fmla="*/ 0 w 459"/>
              <a:gd name="T5" fmla="*/ 0 h 511"/>
              <a:gd name="T6" fmla="*/ 4046361 w 459"/>
              <a:gd name="T7" fmla="*/ 1929468 h 511"/>
              <a:gd name="T8" fmla="*/ 6069756 w 459"/>
              <a:gd name="T9" fmla="*/ 1653830 h 511"/>
              <a:gd name="T10" fmla="*/ 17472903 w 459"/>
              <a:gd name="T11" fmla="*/ 18468820 h 511"/>
              <a:gd name="T12" fmla="*/ 26853514 w 459"/>
              <a:gd name="T13" fmla="*/ 33905093 h 511"/>
              <a:gd name="T14" fmla="*/ 39728104 w 459"/>
              <a:gd name="T15" fmla="*/ 54579020 h 511"/>
              <a:gd name="T16" fmla="*/ 47453287 w 459"/>
              <a:gd name="T17" fmla="*/ 65329441 h 511"/>
              <a:gd name="T18" fmla="*/ 55729993 w 459"/>
              <a:gd name="T19" fmla="*/ 73323478 h 511"/>
              <a:gd name="T20" fmla="*/ 68421029 w 459"/>
              <a:gd name="T21" fmla="*/ 85727729 h 511"/>
              <a:gd name="T22" fmla="*/ 73202897 w 459"/>
              <a:gd name="T23" fmla="*/ 92619213 h 511"/>
              <a:gd name="T24" fmla="*/ 67133141 w 459"/>
              <a:gd name="T25" fmla="*/ 88208474 h 511"/>
              <a:gd name="T26" fmla="*/ 59592370 w 459"/>
              <a:gd name="T27" fmla="*/ 81593154 h 511"/>
              <a:gd name="T28" fmla="*/ 57752959 w 459"/>
              <a:gd name="T29" fmla="*/ 82144430 h 511"/>
              <a:gd name="T30" fmla="*/ 57568975 w 459"/>
              <a:gd name="T31" fmla="*/ 85727729 h 511"/>
              <a:gd name="T32" fmla="*/ 58304911 w 459"/>
              <a:gd name="T33" fmla="*/ 92894851 h 511"/>
              <a:gd name="T34" fmla="*/ 59960338 w 459"/>
              <a:gd name="T35" fmla="*/ 98683257 h 511"/>
              <a:gd name="T36" fmla="*/ 64006700 w 459"/>
              <a:gd name="T37" fmla="*/ 106677294 h 511"/>
              <a:gd name="T38" fmla="*/ 72467390 w 459"/>
              <a:gd name="T39" fmla="*/ 116049523 h 511"/>
              <a:gd name="T40" fmla="*/ 80928080 w 459"/>
              <a:gd name="T41" fmla="*/ 126248667 h 511"/>
              <a:gd name="T42" fmla="*/ 82399094 w 459"/>
              <a:gd name="T43" fmla="*/ 131210158 h 511"/>
              <a:gd name="T44" fmla="*/ 78720701 w 459"/>
              <a:gd name="T45" fmla="*/ 129280689 h 511"/>
              <a:gd name="T46" fmla="*/ 72099422 w 459"/>
              <a:gd name="T47" fmla="*/ 127351221 h 511"/>
              <a:gd name="T48" fmla="*/ 72283406 w 459"/>
              <a:gd name="T49" fmla="*/ 136172173 h 511"/>
              <a:gd name="T50" fmla="*/ 73202897 w 459"/>
              <a:gd name="T51" fmla="*/ 140858025 h 511"/>
              <a:gd name="T52" fmla="*/ 71363486 w 459"/>
              <a:gd name="T53" fmla="*/ 135620897 h 511"/>
              <a:gd name="T54" fmla="*/ 66765602 w 459"/>
              <a:gd name="T55" fmla="*/ 128453774 h 511"/>
              <a:gd name="T56" fmla="*/ 63086780 w 459"/>
              <a:gd name="T57" fmla="*/ 122664844 h 511"/>
              <a:gd name="T58" fmla="*/ 62351273 w 459"/>
              <a:gd name="T59" fmla="*/ 118805907 h 511"/>
              <a:gd name="T60" fmla="*/ 60327878 w 459"/>
              <a:gd name="T61" fmla="*/ 113292615 h 511"/>
              <a:gd name="T62" fmla="*/ 57017452 w 459"/>
              <a:gd name="T63" fmla="*/ 105850379 h 511"/>
              <a:gd name="T64" fmla="*/ 54810073 w 459"/>
              <a:gd name="T65" fmla="*/ 101164002 h 511"/>
              <a:gd name="T66" fmla="*/ 51499648 w 459"/>
              <a:gd name="T67" fmla="*/ 98683257 h 511"/>
              <a:gd name="T68" fmla="*/ 48556762 w 459"/>
              <a:gd name="T69" fmla="*/ 94548681 h 511"/>
              <a:gd name="T70" fmla="*/ 45797860 w 459"/>
              <a:gd name="T71" fmla="*/ 86554644 h 511"/>
              <a:gd name="T72" fmla="*/ 45061924 w 459"/>
              <a:gd name="T73" fmla="*/ 80765714 h 511"/>
              <a:gd name="T74" fmla="*/ 43038958 w 459"/>
              <a:gd name="T75" fmla="*/ 77458053 h 511"/>
              <a:gd name="T76" fmla="*/ 35681743 w 459"/>
              <a:gd name="T77" fmla="*/ 67258909 h 511"/>
              <a:gd name="T78" fmla="*/ 31451398 w 459"/>
              <a:gd name="T79" fmla="*/ 60643589 h 511"/>
              <a:gd name="T80" fmla="*/ 29979955 w 459"/>
              <a:gd name="T81" fmla="*/ 55957211 h 511"/>
              <a:gd name="T82" fmla="*/ 28324957 w 459"/>
              <a:gd name="T83" fmla="*/ 51546998 h 511"/>
              <a:gd name="T84" fmla="*/ 21151725 w 459"/>
              <a:gd name="T85" fmla="*/ 42726045 h 511"/>
              <a:gd name="T86" fmla="*/ 12875019 w 459"/>
              <a:gd name="T87" fmla="*/ 35834561 h 511"/>
              <a:gd name="T88" fmla="*/ 8644674 w 459"/>
              <a:gd name="T89" fmla="*/ 30321794 h 511"/>
              <a:gd name="T90" fmla="*/ 6989247 w 459"/>
              <a:gd name="T91" fmla="*/ 25635417 h 511"/>
              <a:gd name="T92" fmla="*/ 6253311 w 459"/>
              <a:gd name="T93" fmla="*/ 2067392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33" name="Freeform 526">
            <a:extLst>
              <a:ext uri="{FF2B5EF4-FFF2-40B4-BE49-F238E27FC236}">
                <a16:creationId xmlns:a16="http://schemas.microsoft.com/office/drawing/2014/main" id="{E1B29453-6F90-48E1-9327-B2E2C75B8D48}"/>
              </a:ext>
            </a:extLst>
          </p:cNvPr>
          <p:cNvSpPr>
            <a:spLocks/>
          </p:cNvSpPr>
          <p:nvPr/>
        </p:nvSpPr>
        <p:spPr bwMode="auto">
          <a:xfrm>
            <a:off x="7765446" y="5511159"/>
            <a:ext cx="376043" cy="193953"/>
          </a:xfrm>
          <a:custGeom>
            <a:avLst/>
            <a:gdLst>
              <a:gd name="T0" fmla="*/ 4 w 259"/>
              <a:gd name="T1" fmla="*/ 11 h 104"/>
              <a:gd name="T2" fmla="*/ 3 w 259"/>
              <a:gd name="T3" fmla="*/ 9 h 104"/>
              <a:gd name="T4" fmla="*/ 6 w 259"/>
              <a:gd name="T5" fmla="*/ 7 h 104"/>
              <a:gd name="T6" fmla="*/ 7 w 259"/>
              <a:gd name="T7" fmla="*/ 5 h 104"/>
              <a:gd name="T8" fmla="*/ 13 w 259"/>
              <a:gd name="T9" fmla="*/ 5 h 104"/>
              <a:gd name="T10" fmla="*/ 18 w 259"/>
              <a:gd name="T11" fmla="*/ 5 h 104"/>
              <a:gd name="T12" fmla="*/ 26 w 259"/>
              <a:gd name="T13" fmla="*/ 3 h 104"/>
              <a:gd name="T14" fmla="*/ 27 w 259"/>
              <a:gd name="T15" fmla="*/ 1 h 104"/>
              <a:gd name="T16" fmla="*/ 26 w 259"/>
              <a:gd name="T17" fmla="*/ 0 h 104"/>
              <a:gd name="T18" fmla="*/ 21 w 259"/>
              <a:gd name="T19" fmla="*/ 1 h 104"/>
              <a:gd name="T20" fmla="*/ 16 w 259"/>
              <a:gd name="T21" fmla="*/ 1 h 104"/>
              <a:gd name="T22" fmla="*/ 11 w 259"/>
              <a:gd name="T23" fmla="*/ 1 h 104"/>
              <a:gd name="T24" fmla="*/ 6 w 259"/>
              <a:gd name="T25" fmla="*/ 2 h 104"/>
              <a:gd name="T26" fmla="*/ 3 w 259"/>
              <a:gd name="T27" fmla="*/ 5 h 104"/>
              <a:gd name="T28" fmla="*/ 0 w 259"/>
              <a:gd name="T29" fmla="*/ 7 h 104"/>
              <a:gd name="T30" fmla="*/ 0 w 259"/>
              <a:gd name="T31" fmla="*/ 11 h 104"/>
              <a:gd name="T32" fmla="*/ 4 w 259"/>
              <a:gd name="T33" fmla="*/ 11 h 10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59" h="104">
                <a:moveTo>
                  <a:pt x="33" y="104"/>
                </a:moveTo>
                <a:lnTo>
                  <a:pt x="26" y="86"/>
                </a:lnTo>
                <a:lnTo>
                  <a:pt x="52" y="62"/>
                </a:lnTo>
                <a:lnTo>
                  <a:pt x="72" y="49"/>
                </a:lnTo>
                <a:lnTo>
                  <a:pt x="126" y="43"/>
                </a:lnTo>
                <a:lnTo>
                  <a:pt x="172" y="43"/>
                </a:lnTo>
                <a:lnTo>
                  <a:pt x="246" y="31"/>
                </a:lnTo>
                <a:lnTo>
                  <a:pt x="259" y="7"/>
                </a:lnTo>
                <a:lnTo>
                  <a:pt x="246" y="0"/>
                </a:lnTo>
                <a:lnTo>
                  <a:pt x="205" y="13"/>
                </a:lnTo>
                <a:lnTo>
                  <a:pt x="152" y="7"/>
                </a:lnTo>
                <a:lnTo>
                  <a:pt x="106" y="13"/>
                </a:lnTo>
                <a:lnTo>
                  <a:pt x="52" y="19"/>
                </a:lnTo>
                <a:lnTo>
                  <a:pt x="26" y="43"/>
                </a:lnTo>
                <a:lnTo>
                  <a:pt x="0" y="68"/>
                </a:lnTo>
                <a:lnTo>
                  <a:pt x="0" y="104"/>
                </a:lnTo>
                <a:lnTo>
                  <a:pt x="3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 sz="2700"/>
          </a:p>
        </p:txBody>
      </p:sp>
      <p:sp>
        <p:nvSpPr>
          <p:cNvPr id="134" name="Freeform 528">
            <a:extLst>
              <a:ext uri="{FF2B5EF4-FFF2-40B4-BE49-F238E27FC236}">
                <a16:creationId xmlns:a16="http://schemas.microsoft.com/office/drawing/2014/main" id="{2EC39FB3-4192-4198-9FE4-0955727B03FC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2818859" y="5415368"/>
            <a:ext cx="192023" cy="207057"/>
          </a:xfrm>
          <a:custGeom>
            <a:avLst/>
            <a:gdLst>
              <a:gd name="T0" fmla="*/ 22370702 w 146"/>
              <a:gd name="T1" fmla="*/ 8960556 h 81"/>
              <a:gd name="T2" fmla="*/ 21144717 w 146"/>
              <a:gd name="T3" fmla="*/ 11947172 h 81"/>
              <a:gd name="T4" fmla="*/ 19919124 w 146"/>
              <a:gd name="T5" fmla="*/ 14436372 h 81"/>
              <a:gd name="T6" fmla="*/ 18846583 w 146"/>
              <a:gd name="T7" fmla="*/ 17422989 h 81"/>
              <a:gd name="T8" fmla="*/ 18080538 w 146"/>
              <a:gd name="T9" fmla="*/ 20410311 h 81"/>
              <a:gd name="T10" fmla="*/ 16548057 w 146"/>
              <a:gd name="T11" fmla="*/ 26383544 h 81"/>
              <a:gd name="T12" fmla="*/ 15015967 w 146"/>
              <a:gd name="T13" fmla="*/ 31860067 h 81"/>
              <a:gd name="T14" fmla="*/ 14249922 w 146"/>
              <a:gd name="T15" fmla="*/ 34348561 h 81"/>
              <a:gd name="T16" fmla="*/ 13023937 w 146"/>
              <a:gd name="T17" fmla="*/ 36340344 h 81"/>
              <a:gd name="T18" fmla="*/ 11644900 w 146"/>
              <a:gd name="T19" fmla="*/ 38331422 h 81"/>
              <a:gd name="T20" fmla="*/ 10112810 w 146"/>
              <a:gd name="T21" fmla="*/ 39824378 h 81"/>
              <a:gd name="T22" fmla="*/ 8120780 w 146"/>
              <a:gd name="T23" fmla="*/ 40322500 h 81"/>
              <a:gd name="T24" fmla="*/ 5975698 w 146"/>
              <a:gd name="T25" fmla="*/ 39824378 h 81"/>
              <a:gd name="T26" fmla="*/ 3217623 w 146"/>
              <a:gd name="T27" fmla="*/ 38331422 h 81"/>
              <a:gd name="T28" fmla="*/ 0 w 146"/>
              <a:gd name="T29" fmla="*/ 36837761 h 81"/>
              <a:gd name="T30" fmla="*/ 0 w 146"/>
              <a:gd name="T31" fmla="*/ 30863822 h 81"/>
              <a:gd name="T32" fmla="*/ 0 w 146"/>
              <a:gd name="T33" fmla="*/ 24392467 h 81"/>
              <a:gd name="T34" fmla="*/ 0 w 146"/>
              <a:gd name="T35" fmla="*/ 16925572 h 81"/>
              <a:gd name="T36" fmla="*/ 0 w 146"/>
              <a:gd name="T37" fmla="*/ 8960556 h 81"/>
              <a:gd name="T38" fmla="*/ 2145082 w 146"/>
              <a:gd name="T39" fmla="*/ 8960556 h 81"/>
              <a:gd name="T40" fmla="*/ 3371067 w 146"/>
              <a:gd name="T41" fmla="*/ 8960556 h 81"/>
              <a:gd name="T42" fmla="*/ 4750104 w 146"/>
              <a:gd name="T43" fmla="*/ 8960556 h 81"/>
              <a:gd name="T44" fmla="*/ 6129142 w 146"/>
              <a:gd name="T45" fmla="*/ 8960556 h 81"/>
              <a:gd name="T46" fmla="*/ 7967728 w 146"/>
              <a:gd name="T47" fmla="*/ 8960556 h 81"/>
              <a:gd name="T48" fmla="*/ 9653261 w 146"/>
              <a:gd name="T49" fmla="*/ 7965017 h 81"/>
              <a:gd name="T50" fmla="*/ 11185351 w 146"/>
              <a:gd name="T51" fmla="*/ 6969478 h 81"/>
              <a:gd name="T52" fmla="*/ 12717441 w 146"/>
              <a:gd name="T53" fmla="*/ 5475817 h 81"/>
              <a:gd name="T54" fmla="*/ 15475515 w 146"/>
              <a:gd name="T55" fmla="*/ 2489200 h 81"/>
              <a:gd name="T56" fmla="*/ 18387034 w 146"/>
              <a:gd name="T57" fmla="*/ 0 h 81"/>
              <a:gd name="T58" fmla="*/ 19766071 w 146"/>
              <a:gd name="T59" fmla="*/ 1991078 h 81"/>
              <a:gd name="T60" fmla="*/ 20685168 w 146"/>
              <a:gd name="T61" fmla="*/ 4480278 h 81"/>
              <a:gd name="T62" fmla="*/ 21604657 w 146"/>
              <a:gd name="T63" fmla="*/ 6969478 h 81"/>
              <a:gd name="T64" fmla="*/ 22370702 w 146"/>
              <a:gd name="T65" fmla="*/ 8960556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35" name="Freeform 539">
            <a:extLst>
              <a:ext uri="{FF2B5EF4-FFF2-40B4-BE49-F238E27FC236}">
                <a16:creationId xmlns:a16="http://schemas.microsoft.com/office/drawing/2014/main" id="{419A5B18-90D5-466C-921A-CC6053A4B394}"/>
              </a:ext>
            </a:extLst>
          </p:cNvPr>
          <p:cNvSpPr>
            <a:spLocks/>
          </p:cNvSpPr>
          <p:nvPr/>
        </p:nvSpPr>
        <p:spPr bwMode="auto">
          <a:xfrm>
            <a:off x="3800830" y="5967341"/>
            <a:ext cx="151877" cy="131253"/>
          </a:xfrm>
          <a:custGeom>
            <a:avLst/>
            <a:gdLst>
              <a:gd name="T0" fmla="*/ 0 w 107"/>
              <a:gd name="T1" fmla="*/ 1 h 69"/>
              <a:gd name="T2" fmla="*/ 0 w 107"/>
              <a:gd name="T3" fmla="*/ 3 h 69"/>
              <a:gd name="T4" fmla="*/ 0 w 107"/>
              <a:gd name="T5" fmla="*/ 5 h 69"/>
              <a:gd name="T6" fmla="*/ 0 w 107"/>
              <a:gd name="T7" fmla="*/ 7 h 69"/>
              <a:gd name="T8" fmla="*/ 0 w 107"/>
              <a:gd name="T9" fmla="*/ 8 h 69"/>
              <a:gd name="T10" fmla="*/ 2 w 107"/>
              <a:gd name="T11" fmla="*/ 7 h 69"/>
              <a:gd name="T12" fmla="*/ 5 w 107"/>
              <a:gd name="T13" fmla="*/ 6 h 69"/>
              <a:gd name="T14" fmla="*/ 9 w 107"/>
              <a:gd name="T15" fmla="*/ 6 h 69"/>
              <a:gd name="T16" fmla="*/ 11 w 107"/>
              <a:gd name="T17" fmla="*/ 5 h 69"/>
              <a:gd name="T18" fmla="*/ 10 w 107"/>
              <a:gd name="T19" fmla="*/ 4 h 69"/>
              <a:gd name="T20" fmla="*/ 10 w 107"/>
              <a:gd name="T21" fmla="*/ 4 h 69"/>
              <a:gd name="T22" fmla="*/ 9 w 107"/>
              <a:gd name="T23" fmla="*/ 3 h 69"/>
              <a:gd name="T24" fmla="*/ 8 w 107"/>
              <a:gd name="T25" fmla="*/ 3 h 69"/>
              <a:gd name="T26" fmla="*/ 7 w 107"/>
              <a:gd name="T27" fmla="*/ 3 h 69"/>
              <a:gd name="T28" fmla="*/ 7 w 107"/>
              <a:gd name="T29" fmla="*/ 2 h 69"/>
              <a:gd name="T30" fmla="*/ 6 w 107"/>
              <a:gd name="T31" fmla="*/ 2 h 69"/>
              <a:gd name="T32" fmla="*/ 6 w 107"/>
              <a:gd name="T33" fmla="*/ 1 h 69"/>
              <a:gd name="T34" fmla="*/ 6 w 107"/>
              <a:gd name="T35" fmla="*/ 1 h 69"/>
              <a:gd name="T36" fmla="*/ 6 w 107"/>
              <a:gd name="T37" fmla="*/ 0 h 69"/>
              <a:gd name="T38" fmla="*/ 5 w 107"/>
              <a:gd name="T39" fmla="*/ 0 h 69"/>
              <a:gd name="T40" fmla="*/ 4 w 107"/>
              <a:gd name="T41" fmla="*/ 0 h 69"/>
              <a:gd name="T42" fmla="*/ 2 w 107"/>
              <a:gd name="T43" fmla="*/ 1 h 69"/>
              <a:gd name="T44" fmla="*/ 0 w 107"/>
              <a:gd name="T45" fmla="*/ 1 h 6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07" h="69">
                <a:moveTo>
                  <a:pt x="0" y="13"/>
                </a:moveTo>
                <a:lnTo>
                  <a:pt x="0" y="27"/>
                </a:lnTo>
                <a:lnTo>
                  <a:pt x="0" y="45"/>
                </a:lnTo>
                <a:lnTo>
                  <a:pt x="0" y="62"/>
                </a:lnTo>
                <a:lnTo>
                  <a:pt x="0" y="69"/>
                </a:lnTo>
                <a:lnTo>
                  <a:pt x="16" y="66"/>
                </a:lnTo>
                <a:lnTo>
                  <a:pt x="49" y="58"/>
                </a:lnTo>
                <a:lnTo>
                  <a:pt x="85" y="50"/>
                </a:lnTo>
                <a:lnTo>
                  <a:pt x="107" y="44"/>
                </a:lnTo>
                <a:lnTo>
                  <a:pt x="101" y="38"/>
                </a:lnTo>
                <a:lnTo>
                  <a:pt x="94" y="34"/>
                </a:lnTo>
                <a:lnTo>
                  <a:pt x="86" y="30"/>
                </a:lnTo>
                <a:lnTo>
                  <a:pt x="78" y="27"/>
                </a:lnTo>
                <a:lnTo>
                  <a:pt x="72" y="23"/>
                </a:lnTo>
                <a:lnTo>
                  <a:pt x="65" y="18"/>
                </a:lnTo>
                <a:lnTo>
                  <a:pt x="63" y="15"/>
                </a:lnTo>
                <a:lnTo>
                  <a:pt x="62" y="11"/>
                </a:lnTo>
                <a:lnTo>
                  <a:pt x="61" y="7"/>
                </a:lnTo>
                <a:lnTo>
                  <a:pt x="61" y="0"/>
                </a:lnTo>
                <a:lnTo>
                  <a:pt x="54" y="1"/>
                </a:lnTo>
                <a:lnTo>
                  <a:pt x="38" y="4"/>
                </a:lnTo>
                <a:lnTo>
                  <a:pt x="18" y="9"/>
                </a:lnTo>
                <a:lnTo>
                  <a:pt x="0" y="13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36" name="Freeform 540">
            <a:extLst>
              <a:ext uri="{FF2B5EF4-FFF2-40B4-BE49-F238E27FC236}">
                <a16:creationId xmlns:a16="http://schemas.microsoft.com/office/drawing/2014/main" id="{96E6AEA9-5391-4513-8A66-20F74A83F2FC}"/>
              </a:ext>
            </a:extLst>
          </p:cNvPr>
          <p:cNvSpPr>
            <a:spLocks/>
          </p:cNvSpPr>
          <p:nvPr/>
        </p:nvSpPr>
        <p:spPr bwMode="auto">
          <a:xfrm>
            <a:off x="3764394" y="5906416"/>
            <a:ext cx="1563446" cy="730451"/>
          </a:xfrm>
          <a:custGeom>
            <a:avLst/>
            <a:gdLst>
              <a:gd name="T0" fmla="*/ 106 w 1070"/>
              <a:gd name="T1" fmla="*/ 14 h 382"/>
              <a:gd name="T2" fmla="*/ 104 w 1070"/>
              <a:gd name="T3" fmla="*/ 12 h 382"/>
              <a:gd name="T4" fmla="*/ 103 w 1070"/>
              <a:gd name="T5" fmla="*/ 6 h 382"/>
              <a:gd name="T6" fmla="*/ 100 w 1070"/>
              <a:gd name="T7" fmla="*/ 4 h 382"/>
              <a:gd name="T8" fmla="*/ 87 w 1070"/>
              <a:gd name="T9" fmla="*/ 2 h 382"/>
              <a:gd name="T10" fmla="*/ 78 w 1070"/>
              <a:gd name="T11" fmla="*/ 6 h 382"/>
              <a:gd name="T12" fmla="*/ 73 w 1070"/>
              <a:gd name="T13" fmla="*/ 7 h 382"/>
              <a:gd name="T14" fmla="*/ 68 w 1070"/>
              <a:gd name="T15" fmla="*/ 7 h 382"/>
              <a:gd name="T16" fmla="*/ 65 w 1070"/>
              <a:gd name="T17" fmla="*/ 5 h 382"/>
              <a:gd name="T18" fmla="*/ 60 w 1070"/>
              <a:gd name="T19" fmla="*/ 4 h 382"/>
              <a:gd name="T20" fmla="*/ 56 w 1070"/>
              <a:gd name="T21" fmla="*/ 2 h 382"/>
              <a:gd name="T22" fmla="*/ 52 w 1070"/>
              <a:gd name="T23" fmla="*/ 2 h 382"/>
              <a:gd name="T24" fmla="*/ 50 w 1070"/>
              <a:gd name="T25" fmla="*/ 0 h 382"/>
              <a:gd name="T26" fmla="*/ 42 w 1070"/>
              <a:gd name="T27" fmla="*/ 2 h 382"/>
              <a:gd name="T28" fmla="*/ 32 w 1070"/>
              <a:gd name="T29" fmla="*/ 3 h 382"/>
              <a:gd name="T30" fmla="*/ 27 w 1070"/>
              <a:gd name="T31" fmla="*/ 5 h 382"/>
              <a:gd name="T32" fmla="*/ 15 w 1070"/>
              <a:gd name="T33" fmla="*/ 7 h 382"/>
              <a:gd name="T34" fmla="*/ 19 w 1070"/>
              <a:gd name="T35" fmla="*/ 8 h 382"/>
              <a:gd name="T36" fmla="*/ 18 w 1070"/>
              <a:gd name="T37" fmla="*/ 10 h 382"/>
              <a:gd name="T38" fmla="*/ 12 w 1070"/>
              <a:gd name="T39" fmla="*/ 10 h 382"/>
              <a:gd name="T40" fmla="*/ 5 w 1070"/>
              <a:gd name="T41" fmla="*/ 10 h 382"/>
              <a:gd name="T42" fmla="*/ 1 w 1070"/>
              <a:gd name="T43" fmla="*/ 12 h 382"/>
              <a:gd name="T44" fmla="*/ 0 w 1070"/>
              <a:gd name="T45" fmla="*/ 16 h 382"/>
              <a:gd name="T46" fmla="*/ 2 w 1070"/>
              <a:gd name="T47" fmla="*/ 19 h 382"/>
              <a:gd name="T48" fmla="*/ 2 w 1070"/>
              <a:gd name="T49" fmla="*/ 22 h 382"/>
              <a:gd name="T50" fmla="*/ 2 w 1070"/>
              <a:gd name="T51" fmla="*/ 23 h 382"/>
              <a:gd name="T52" fmla="*/ 5 w 1070"/>
              <a:gd name="T53" fmla="*/ 26 h 382"/>
              <a:gd name="T54" fmla="*/ 6 w 1070"/>
              <a:gd name="T55" fmla="*/ 29 h 382"/>
              <a:gd name="T56" fmla="*/ 8 w 1070"/>
              <a:gd name="T57" fmla="*/ 30 h 382"/>
              <a:gd name="T58" fmla="*/ 10 w 1070"/>
              <a:gd name="T59" fmla="*/ 33 h 382"/>
              <a:gd name="T60" fmla="*/ 22 w 1070"/>
              <a:gd name="T61" fmla="*/ 40 h 382"/>
              <a:gd name="T62" fmla="*/ 27 w 1070"/>
              <a:gd name="T63" fmla="*/ 42 h 382"/>
              <a:gd name="T64" fmla="*/ 28 w 1070"/>
              <a:gd name="T65" fmla="*/ 40 h 382"/>
              <a:gd name="T66" fmla="*/ 30 w 1070"/>
              <a:gd name="T67" fmla="*/ 38 h 382"/>
              <a:gd name="T68" fmla="*/ 32 w 1070"/>
              <a:gd name="T69" fmla="*/ 36 h 382"/>
              <a:gd name="T70" fmla="*/ 36 w 1070"/>
              <a:gd name="T71" fmla="*/ 36 h 382"/>
              <a:gd name="T72" fmla="*/ 39 w 1070"/>
              <a:gd name="T73" fmla="*/ 40 h 382"/>
              <a:gd name="T74" fmla="*/ 43 w 1070"/>
              <a:gd name="T75" fmla="*/ 42 h 382"/>
              <a:gd name="T76" fmla="*/ 48 w 1070"/>
              <a:gd name="T77" fmla="*/ 40 h 382"/>
              <a:gd name="T78" fmla="*/ 53 w 1070"/>
              <a:gd name="T79" fmla="*/ 38 h 382"/>
              <a:gd name="T80" fmla="*/ 56 w 1070"/>
              <a:gd name="T81" fmla="*/ 37 h 382"/>
              <a:gd name="T82" fmla="*/ 60 w 1070"/>
              <a:gd name="T83" fmla="*/ 37 h 382"/>
              <a:gd name="T84" fmla="*/ 61 w 1070"/>
              <a:gd name="T85" fmla="*/ 41 h 382"/>
              <a:gd name="T86" fmla="*/ 63 w 1070"/>
              <a:gd name="T87" fmla="*/ 42 h 382"/>
              <a:gd name="T88" fmla="*/ 66 w 1070"/>
              <a:gd name="T89" fmla="*/ 41 h 382"/>
              <a:gd name="T90" fmla="*/ 69 w 1070"/>
              <a:gd name="T91" fmla="*/ 38 h 382"/>
              <a:gd name="T92" fmla="*/ 80 w 1070"/>
              <a:gd name="T93" fmla="*/ 37 h 382"/>
              <a:gd name="T94" fmla="*/ 89 w 1070"/>
              <a:gd name="T95" fmla="*/ 36 h 382"/>
              <a:gd name="T96" fmla="*/ 98 w 1070"/>
              <a:gd name="T97" fmla="*/ 32 h 382"/>
              <a:gd name="T98" fmla="*/ 103 w 1070"/>
              <a:gd name="T99" fmla="*/ 32 h 382"/>
              <a:gd name="T100" fmla="*/ 108 w 1070"/>
              <a:gd name="T101" fmla="*/ 33 h 382"/>
              <a:gd name="T102" fmla="*/ 113 w 1070"/>
              <a:gd name="T103" fmla="*/ 35 h 382"/>
              <a:gd name="T104" fmla="*/ 113 w 1070"/>
              <a:gd name="T105" fmla="*/ 30 h 382"/>
              <a:gd name="T106" fmla="*/ 110 w 1070"/>
              <a:gd name="T107" fmla="*/ 24 h 382"/>
              <a:gd name="T108" fmla="*/ 109 w 1070"/>
              <a:gd name="T109" fmla="*/ 19 h 382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070" h="382">
                <a:moveTo>
                  <a:pt x="1011" y="142"/>
                </a:moveTo>
                <a:lnTo>
                  <a:pt x="1011" y="136"/>
                </a:lnTo>
                <a:lnTo>
                  <a:pt x="1011" y="123"/>
                </a:lnTo>
                <a:lnTo>
                  <a:pt x="1000" y="125"/>
                </a:lnTo>
                <a:lnTo>
                  <a:pt x="992" y="124"/>
                </a:lnTo>
                <a:lnTo>
                  <a:pt x="984" y="122"/>
                </a:lnTo>
                <a:lnTo>
                  <a:pt x="980" y="119"/>
                </a:lnTo>
                <a:lnTo>
                  <a:pt x="976" y="114"/>
                </a:lnTo>
                <a:lnTo>
                  <a:pt x="972" y="109"/>
                </a:lnTo>
                <a:lnTo>
                  <a:pt x="970" y="103"/>
                </a:lnTo>
                <a:lnTo>
                  <a:pt x="969" y="96"/>
                </a:lnTo>
                <a:lnTo>
                  <a:pt x="967" y="82"/>
                </a:lnTo>
                <a:lnTo>
                  <a:pt x="966" y="68"/>
                </a:lnTo>
                <a:lnTo>
                  <a:pt x="965" y="62"/>
                </a:lnTo>
                <a:lnTo>
                  <a:pt x="962" y="57"/>
                </a:lnTo>
                <a:lnTo>
                  <a:pt x="960" y="53"/>
                </a:lnTo>
                <a:lnTo>
                  <a:pt x="957" y="50"/>
                </a:lnTo>
                <a:lnTo>
                  <a:pt x="950" y="44"/>
                </a:lnTo>
                <a:lnTo>
                  <a:pt x="944" y="40"/>
                </a:lnTo>
                <a:lnTo>
                  <a:pt x="936" y="36"/>
                </a:lnTo>
                <a:lnTo>
                  <a:pt x="928" y="33"/>
                </a:lnTo>
                <a:lnTo>
                  <a:pt x="912" y="28"/>
                </a:lnTo>
                <a:lnTo>
                  <a:pt x="894" y="25"/>
                </a:lnTo>
                <a:lnTo>
                  <a:pt x="857" y="22"/>
                </a:lnTo>
                <a:lnTo>
                  <a:pt x="817" y="19"/>
                </a:lnTo>
                <a:lnTo>
                  <a:pt x="799" y="29"/>
                </a:lnTo>
                <a:lnTo>
                  <a:pt x="769" y="43"/>
                </a:lnTo>
                <a:lnTo>
                  <a:pt x="752" y="50"/>
                </a:lnTo>
                <a:lnTo>
                  <a:pt x="734" y="56"/>
                </a:lnTo>
                <a:lnTo>
                  <a:pt x="726" y="58"/>
                </a:lnTo>
                <a:lnTo>
                  <a:pt x="719" y="60"/>
                </a:lnTo>
                <a:lnTo>
                  <a:pt x="711" y="61"/>
                </a:lnTo>
                <a:lnTo>
                  <a:pt x="704" y="62"/>
                </a:lnTo>
                <a:lnTo>
                  <a:pt x="692" y="63"/>
                </a:lnTo>
                <a:lnTo>
                  <a:pt x="678" y="65"/>
                </a:lnTo>
                <a:lnTo>
                  <a:pt x="664" y="67"/>
                </a:lnTo>
                <a:lnTo>
                  <a:pt x="652" y="68"/>
                </a:lnTo>
                <a:lnTo>
                  <a:pt x="644" y="68"/>
                </a:lnTo>
                <a:lnTo>
                  <a:pt x="637" y="67"/>
                </a:lnTo>
                <a:lnTo>
                  <a:pt x="632" y="65"/>
                </a:lnTo>
                <a:lnTo>
                  <a:pt x="626" y="63"/>
                </a:lnTo>
                <a:lnTo>
                  <a:pt x="622" y="59"/>
                </a:lnTo>
                <a:lnTo>
                  <a:pt x="618" y="55"/>
                </a:lnTo>
                <a:lnTo>
                  <a:pt x="614" y="50"/>
                </a:lnTo>
                <a:lnTo>
                  <a:pt x="612" y="44"/>
                </a:lnTo>
                <a:lnTo>
                  <a:pt x="601" y="45"/>
                </a:lnTo>
                <a:lnTo>
                  <a:pt x="591" y="44"/>
                </a:lnTo>
                <a:lnTo>
                  <a:pt x="581" y="42"/>
                </a:lnTo>
                <a:lnTo>
                  <a:pt x="571" y="40"/>
                </a:lnTo>
                <a:lnTo>
                  <a:pt x="560" y="37"/>
                </a:lnTo>
                <a:lnTo>
                  <a:pt x="549" y="34"/>
                </a:lnTo>
                <a:lnTo>
                  <a:pt x="537" y="32"/>
                </a:lnTo>
                <a:lnTo>
                  <a:pt x="525" y="32"/>
                </a:lnTo>
                <a:lnTo>
                  <a:pt x="525" y="25"/>
                </a:lnTo>
                <a:lnTo>
                  <a:pt x="525" y="19"/>
                </a:lnTo>
                <a:lnTo>
                  <a:pt x="512" y="22"/>
                </a:lnTo>
                <a:lnTo>
                  <a:pt x="499" y="25"/>
                </a:lnTo>
                <a:lnTo>
                  <a:pt x="493" y="25"/>
                </a:lnTo>
                <a:lnTo>
                  <a:pt x="488" y="23"/>
                </a:lnTo>
                <a:lnTo>
                  <a:pt x="483" y="21"/>
                </a:lnTo>
                <a:lnTo>
                  <a:pt x="477" y="17"/>
                </a:lnTo>
                <a:lnTo>
                  <a:pt x="473" y="13"/>
                </a:lnTo>
                <a:lnTo>
                  <a:pt x="468" y="9"/>
                </a:lnTo>
                <a:lnTo>
                  <a:pt x="466" y="5"/>
                </a:lnTo>
                <a:lnTo>
                  <a:pt x="465" y="0"/>
                </a:lnTo>
                <a:lnTo>
                  <a:pt x="456" y="5"/>
                </a:lnTo>
                <a:lnTo>
                  <a:pt x="445" y="9"/>
                </a:lnTo>
                <a:lnTo>
                  <a:pt x="432" y="12"/>
                </a:lnTo>
                <a:lnTo>
                  <a:pt x="419" y="14"/>
                </a:lnTo>
                <a:lnTo>
                  <a:pt x="390" y="16"/>
                </a:lnTo>
                <a:lnTo>
                  <a:pt x="360" y="19"/>
                </a:lnTo>
                <a:lnTo>
                  <a:pt x="343" y="20"/>
                </a:lnTo>
                <a:lnTo>
                  <a:pt x="329" y="21"/>
                </a:lnTo>
                <a:lnTo>
                  <a:pt x="313" y="23"/>
                </a:lnTo>
                <a:lnTo>
                  <a:pt x="299" y="26"/>
                </a:lnTo>
                <a:lnTo>
                  <a:pt x="286" y="30"/>
                </a:lnTo>
                <a:lnTo>
                  <a:pt x="274" y="35"/>
                </a:lnTo>
                <a:lnTo>
                  <a:pt x="267" y="38"/>
                </a:lnTo>
                <a:lnTo>
                  <a:pt x="262" y="41"/>
                </a:lnTo>
                <a:lnTo>
                  <a:pt x="257" y="45"/>
                </a:lnTo>
                <a:lnTo>
                  <a:pt x="253" y="50"/>
                </a:lnTo>
                <a:lnTo>
                  <a:pt x="147" y="50"/>
                </a:lnTo>
                <a:lnTo>
                  <a:pt x="145" y="54"/>
                </a:lnTo>
                <a:lnTo>
                  <a:pt x="142" y="58"/>
                </a:lnTo>
                <a:lnTo>
                  <a:pt x="138" y="61"/>
                </a:lnTo>
                <a:lnTo>
                  <a:pt x="133" y="62"/>
                </a:lnTo>
                <a:lnTo>
                  <a:pt x="143" y="65"/>
                </a:lnTo>
                <a:lnTo>
                  <a:pt x="153" y="68"/>
                </a:lnTo>
                <a:lnTo>
                  <a:pt x="163" y="70"/>
                </a:lnTo>
                <a:lnTo>
                  <a:pt x="173" y="75"/>
                </a:lnTo>
                <a:lnTo>
                  <a:pt x="173" y="79"/>
                </a:lnTo>
                <a:lnTo>
                  <a:pt x="172" y="83"/>
                </a:lnTo>
                <a:lnTo>
                  <a:pt x="170" y="86"/>
                </a:lnTo>
                <a:lnTo>
                  <a:pt x="167" y="88"/>
                </a:lnTo>
                <a:lnTo>
                  <a:pt x="164" y="90"/>
                </a:lnTo>
                <a:lnTo>
                  <a:pt x="161" y="91"/>
                </a:lnTo>
                <a:lnTo>
                  <a:pt x="158" y="92"/>
                </a:lnTo>
                <a:lnTo>
                  <a:pt x="153" y="93"/>
                </a:lnTo>
                <a:lnTo>
                  <a:pt x="133" y="94"/>
                </a:lnTo>
                <a:lnTo>
                  <a:pt x="114" y="93"/>
                </a:lnTo>
                <a:lnTo>
                  <a:pt x="108" y="93"/>
                </a:lnTo>
                <a:lnTo>
                  <a:pt x="94" y="93"/>
                </a:lnTo>
                <a:lnTo>
                  <a:pt x="74" y="93"/>
                </a:lnTo>
                <a:lnTo>
                  <a:pt x="53" y="93"/>
                </a:lnTo>
                <a:lnTo>
                  <a:pt x="42" y="94"/>
                </a:lnTo>
                <a:lnTo>
                  <a:pt x="31" y="95"/>
                </a:lnTo>
                <a:lnTo>
                  <a:pt x="22" y="99"/>
                </a:lnTo>
                <a:lnTo>
                  <a:pt x="15" y="104"/>
                </a:lnTo>
                <a:lnTo>
                  <a:pt x="11" y="107"/>
                </a:lnTo>
                <a:lnTo>
                  <a:pt x="8" y="110"/>
                </a:lnTo>
                <a:lnTo>
                  <a:pt x="6" y="114"/>
                </a:lnTo>
                <a:lnTo>
                  <a:pt x="4" y="119"/>
                </a:lnTo>
                <a:lnTo>
                  <a:pt x="2" y="130"/>
                </a:lnTo>
                <a:lnTo>
                  <a:pt x="0" y="142"/>
                </a:lnTo>
                <a:lnTo>
                  <a:pt x="0" y="147"/>
                </a:lnTo>
                <a:lnTo>
                  <a:pt x="2" y="151"/>
                </a:lnTo>
                <a:lnTo>
                  <a:pt x="4" y="154"/>
                </a:lnTo>
                <a:lnTo>
                  <a:pt x="5" y="157"/>
                </a:lnTo>
                <a:lnTo>
                  <a:pt x="10" y="162"/>
                </a:lnTo>
                <a:lnTo>
                  <a:pt x="16" y="167"/>
                </a:lnTo>
                <a:lnTo>
                  <a:pt x="20" y="173"/>
                </a:lnTo>
                <a:lnTo>
                  <a:pt x="22" y="179"/>
                </a:lnTo>
                <a:lnTo>
                  <a:pt x="24" y="183"/>
                </a:lnTo>
                <a:lnTo>
                  <a:pt x="24" y="188"/>
                </a:lnTo>
                <a:lnTo>
                  <a:pt x="22" y="193"/>
                </a:lnTo>
                <a:lnTo>
                  <a:pt x="20" y="198"/>
                </a:lnTo>
                <a:lnTo>
                  <a:pt x="19" y="200"/>
                </a:lnTo>
                <a:lnTo>
                  <a:pt x="19" y="203"/>
                </a:lnTo>
                <a:lnTo>
                  <a:pt x="20" y="206"/>
                </a:lnTo>
                <a:lnTo>
                  <a:pt x="21" y="210"/>
                </a:lnTo>
                <a:lnTo>
                  <a:pt x="25" y="217"/>
                </a:lnTo>
                <a:lnTo>
                  <a:pt x="30" y="224"/>
                </a:lnTo>
                <a:lnTo>
                  <a:pt x="37" y="230"/>
                </a:lnTo>
                <a:lnTo>
                  <a:pt x="44" y="235"/>
                </a:lnTo>
                <a:lnTo>
                  <a:pt x="49" y="237"/>
                </a:lnTo>
                <a:lnTo>
                  <a:pt x="52" y="239"/>
                </a:lnTo>
                <a:lnTo>
                  <a:pt x="56" y="241"/>
                </a:lnTo>
                <a:lnTo>
                  <a:pt x="60" y="241"/>
                </a:lnTo>
                <a:lnTo>
                  <a:pt x="59" y="250"/>
                </a:lnTo>
                <a:lnTo>
                  <a:pt x="56" y="259"/>
                </a:lnTo>
                <a:lnTo>
                  <a:pt x="52" y="266"/>
                </a:lnTo>
                <a:lnTo>
                  <a:pt x="47" y="271"/>
                </a:lnTo>
                <a:lnTo>
                  <a:pt x="56" y="271"/>
                </a:lnTo>
                <a:lnTo>
                  <a:pt x="66" y="271"/>
                </a:lnTo>
                <a:lnTo>
                  <a:pt x="74" y="271"/>
                </a:lnTo>
                <a:lnTo>
                  <a:pt x="81" y="271"/>
                </a:lnTo>
                <a:lnTo>
                  <a:pt x="82" y="275"/>
                </a:lnTo>
                <a:lnTo>
                  <a:pt x="84" y="280"/>
                </a:lnTo>
                <a:lnTo>
                  <a:pt x="89" y="284"/>
                </a:lnTo>
                <a:lnTo>
                  <a:pt x="96" y="290"/>
                </a:lnTo>
                <a:lnTo>
                  <a:pt x="112" y="302"/>
                </a:lnTo>
                <a:lnTo>
                  <a:pt x="131" y="313"/>
                </a:lnTo>
                <a:lnTo>
                  <a:pt x="170" y="334"/>
                </a:lnTo>
                <a:lnTo>
                  <a:pt x="193" y="345"/>
                </a:lnTo>
                <a:lnTo>
                  <a:pt x="205" y="352"/>
                </a:lnTo>
                <a:lnTo>
                  <a:pt x="218" y="360"/>
                </a:lnTo>
                <a:lnTo>
                  <a:pt x="226" y="364"/>
                </a:lnTo>
                <a:lnTo>
                  <a:pt x="234" y="367"/>
                </a:lnTo>
                <a:lnTo>
                  <a:pt x="243" y="370"/>
                </a:lnTo>
                <a:lnTo>
                  <a:pt x="253" y="370"/>
                </a:lnTo>
                <a:lnTo>
                  <a:pt x="255" y="370"/>
                </a:lnTo>
                <a:lnTo>
                  <a:pt x="257" y="367"/>
                </a:lnTo>
                <a:lnTo>
                  <a:pt x="261" y="365"/>
                </a:lnTo>
                <a:lnTo>
                  <a:pt x="264" y="361"/>
                </a:lnTo>
                <a:lnTo>
                  <a:pt x="267" y="358"/>
                </a:lnTo>
                <a:lnTo>
                  <a:pt x="271" y="355"/>
                </a:lnTo>
                <a:lnTo>
                  <a:pt x="275" y="353"/>
                </a:lnTo>
                <a:lnTo>
                  <a:pt x="279" y="352"/>
                </a:lnTo>
                <a:lnTo>
                  <a:pt x="277" y="344"/>
                </a:lnTo>
                <a:lnTo>
                  <a:pt x="277" y="338"/>
                </a:lnTo>
                <a:lnTo>
                  <a:pt x="278" y="332"/>
                </a:lnTo>
                <a:lnTo>
                  <a:pt x="280" y="326"/>
                </a:lnTo>
                <a:lnTo>
                  <a:pt x="284" y="322"/>
                </a:lnTo>
                <a:lnTo>
                  <a:pt x="289" y="318"/>
                </a:lnTo>
                <a:lnTo>
                  <a:pt x="297" y="316"/>
                </a:lnTo>
                <a:lnTo>
                  <a:pt x="306" y="315"/>
                </a:lnTo>
                <a:lnTo>
                  <a:pt x="316" y="315"/>
                </a:lnTo>
                <a:lnTo>
                  <a:pt x="323" y="317"/>
                </a:lnTo>
                <a:lnTo>
                  <a:pt x="329" y="320"/>
                </a:lnTo>
                <a:lnTo>
                  <a:pt x="334" y="323"/>
                </a:lnTo>
                <a:lnTo>
                  <a:pt x="343" y="332"/>
                </a:lnTo>
                <a:lnTo>
                  <a:pt x="350" y="342"/>
                </a:lnTo>
                <a:lnTo>
                  <a:pt x="353" y="347"/>
                </a:lnTo>
                <a:lnTo>
                  <a:pt x="357" y="353"/>
                </a:lnTo>
                <a:lnTo>
                  <a:pt x="362" y="358"/>
                </a:lnTo>
                <a:lnTo>
                  <a:pt x="367" y="362"/>
                </a:lnTo>
                <a:lnTo>
                  <a:pt x="373" y="365"/>
                </a:lnTo>
                <a:lnTo>
                  <a:pt x="380" y="368"/>
                </a:lnTo>
                <a:lnTo>
                  <a:pt x="389" y="370"/>
                </a:lnTo>
                <a:lnTo>
                  <a:pt x="399" y="370"/>
                </a:lnTo>
                <a:lnTo>
                  <a:pt x="409" y="370"/>
                </a:lnTo>
                <a:lnTo>
                  <a:pt x="418" y="369"/>
                </a:lnTo>
                <a:lnTo>
                  <a:pt x="425" y="367"/>
                </a:lnTo>
                <a:lnTo>
                  <a:pt x="433" y="365"/>
                </a:lnTo>
                <a:lnTo>
                  <a:pt x="447" y="359"/>
                </a:lnTo>
                <a:lnTo>
                  <a:pt x="459" y="352"/>
                </a:lnTo>
                <a:lnTo>
                  <a:pt x="472" y="345"/>
                </a:lnTo>
                <a:lnTo>
                  <a:pt x="483" y="339"/>
                </a:lnTo>
                <a:lnTo>
                  <a:pt x="488" y="336"/>
                </a:lnTo>
                <a:lnTo>
                  <a:pt x="493" y="335"/>
                </a:lnTo>
                <a:lnTo>
                  <a:pt x="499" y="333"/>
                </a:lnTo>
                <a:lnTo>
                  <a:pt x="506" y="333"/>
                </a:lnTo>
                <a:lnTo>
                  <a:pt x="512" y="332"/>
                </a:lnTo>
                <a:lnTo>
                  <a:pt x="521" y="329"/>
                </a:lnTo>
                <a:lnTo>
                  <a:pt x="525" y="327"/>
                </a:lnTo>
                <a:lnTo>
                  <a:pt x="529" y="325"/>
                </a:lnTo>
                <a:lnTo>
                  <a:pt x="531" y="323"/>
                </a:lnTo>
                <a:lnTo>
                  <a:pt x="532" y="321"/>
                </a:lnTo>
                <a:lnTo>
                  <a:pt x="565" y="321"/>
                </a:lnTo>
                <a:lnTo>
                  <a:pt x="564" y="326"/>
                </a:lnTo>
                <a:lnTo>
                  <a:pt x="563" y="333"/>
                </a:lnTo>
                <a:lnTo>
                  <a:pt x="564" y="341"/>
                </a:lnTo>
                <a:lnTo>
                  <a:pt x="565" y="349"/>
                </a:lnTo>
                <a:lnTo>
                  <a:pt x="566" y="358"/>
                </a:lnTo>
                <a:lnTo>
                  <a:pt x="567" y="367"/>
                </a:lnTo>
                <a:lnTo>
                  <a:pt x="567" y="375"/>
                </a:lnTo>
                <a:lnTo>
                  <a:pt x="565" y="382"/>
                </a:lnTo>
                <a:lnTo>
                  <a:pt x="575" y="381"/>
                </a:lnTo>
                <a:lnTo>
                  <a:pt x="582" y="379"/>
                </a:lnTo>
                <a:lnTo>
                  <a:pt x="590" y="377"/>
                </a:lnTo>
                <a:lnTo>
                  <a:pt x="596" y="375"/>
                </a:lnTo>
                <a:lnTo>
                  <a:pt x="601" y="372"/>
                </a:lnTo>
                <a:lnTo>
                  <a:pt x="605" y="369"/>
                </a:lnTo>
                <a:lnTo>
                  <a:pt x="610" y="366"/>
                </a:lnTo>
                <a:lnTo>
                  <a:pt x="613" y="362"/>
                </a:lnTo>
                <a:lnTo>
                  <a:pt x="623" y="345"/>
                </a:lnTo>
                <a:lnTo>
                  <a:pt x="632" y="327"/>
                </a:lnTo>
                <a:lnTo>
                  <a:pt x="636" y="331"/>
                </a:lnTo>
                <a:lnTo>
                  <a:pt x="641" y="334"/>
                </a:lnTo>
                <a:lnTo>
                  <a:pt x="647" y="336"/>
                </a:lnTo>
                <a:lnTo>
                  <a:pt x="654" y="337"/>
                </a:lnTo>
                <a:lnTo>
                  <a:pt x="669" y="338"/>
                </a:lnTo>
                <a:lnTo>
                  <a:pt x="687" y="336"/>
                </a:lnTo>
                <a:lnTo>
                  <a:pt x="721" y="330"/>
                </a:lnTo>
                <a:lnTo>
                  <a:pt x="752" y="327"/>
                </a:lnTo>
                <a:lnTo>
                  <a:pt x="767" y="327"/>
                </a:lnTo>
                <a:lnTo>
                  <a:pt x="781" y="325"/>
                </a:lnTo>
                <a:lnTo>
                  <a:pt x="794" y="324"/>
                </a:lnTo>
                <a:lnTo>
                  <a:pt x="808" y="321"/>
                </a:lnTo>
                <a:lnTo>
                  <a:pt x="831" y="315"/>
                </a:lnTo>
                <a:lnTo>
                  <a:pt x="853" y="307"/>
                </a:lnTo>
                <a:lnTo>
                  <a:pt x="873" y="299"/>
                </a:lnTo>
                <a:lnTo>
                  <a:pt x="895" y="290"/>
                </a:lnTo>
                <a:lnTo>
                  <a:pt x="906" y="287"/>
                </a:lnTo>
                <a:lnTo>
                  <a:pt x="918" y="283"/>
                </a:lnTo>
                <a:lnTo>
                  <a:pt x="930" y="280"/>
                </a:lnTo>
                <a:lnTo>
                  <a:pt x="944" y="278"/>
                </a:lnTo>
                <a:lnTo>
                  <a:pt x="951" y="279"/>
                </a:lnTo>
                <a:lnTo>
                  <a:pt x="961" y="284"/>
                </a:lnTo>
                <a:lnTo>
                  <a:pt x="967" y="286"/>
                </a:lnTo>
                <a:lnTo>
                  <a:pt x="972" y="288"/>
                </a:lnTo>
                <a:lnTo>
                  <a:pt x="979" y="289"/>
                </a:lnTo>
                <a:lnTo>
                  <a:pt x="983" y="290"/>
                </a:lnTo>
                <a:lnTo>
                  <a:pt x="995" y="290"/>
                </a:lnTo>
                <a:lnTo>
                  <a:pt x="1005" y="293"/>
                </a:lnTo>
                <a:lnTo>
                  <a:pt x="1015" y="295"/>
                </a:lnTo>
                <a:lnTo>
                  <a:pt x="1024" y="300"/>
                </a:lnTo>
                <a:lnTo>
                  <a:pt x="1034" y="303"/>
                </a:lnTo>
                <a:lnTo>
                  <a:pt x="1045" y="306"/>
                </a:lnTo>
                <a:lnTo>
                  <a:pt x="1056" y="308"/>
                </a:lnTo>
                <a:lnTo>
                  <a:pt x="1070" y="309"/>
                </a:lnTo>
                <a:lnTo>
                  <a:pt x="1068" y="297"/>
                </a:lnTo>
                <a:lnTo>
                  <a:pt x="1063" y="286"/>
                </a:lnTo>
                <a:lnTo>
                  <a:pt x="1060" y="276"/>
                </a:lnTo>
                <a:lnTo>
                  <a:pt x="1056" y="268"/>
                </a:lnTo>
                <a:lnTo>
                  <a:pt x="1047" y="254"/>
                </a:lnTo>
                <a:lnTo>
                  <a:pt x="1038" y="241"/>
                </a:lnTo>
                <a:lnTo>
                  <a:pt x="1034" y="233"/>
                </a:lnTo>
                <a:lnTo>
                  <a:pt x="1030" y="226"/>
                </a:lnTo>
                <a:lnTo>
                  <a:pt x="1026" y="219"/>
                </a:lnTo>
                <a:lnTo>
                  <a:pt x="1024" y="211"/>
                </a:lnTo>
                <a:lnTo>
                  <a:pt x="1021" y="202"/>
                </a:lnTo>
                <a:lnTo>
                  <a:pt x="1018" y="192"/>
                </a:lnTo>
                <a:lnTo>
                  <a:pt x="1017" y="179"/>
                </a:lnTo>
                <a:lnTo>
                  <a:pt x="1017" y="167"/>
                </a:lnTo>
                <a:lnTo>
                  <a:pt x="1014" y="152"/>
                </a:lnTo>
                <a:lnTo>
                  <a:pt x="1011" y="142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37" name="Freeform 547">
            <a:extLst>
              <a:ext uri="{FF2B5EF4-FFF2-40B4-BE49-F238E27FC236}">
                <a16:creationId xmlns:a16="http://schemas.microsoft.com/office/drawing/2014/main" id="{4BC08A38-9DAA-480D-B3F5-DD3C617AE529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3053554" y="2809900"/>
            <a:ext cx="794753" cy="333593"/>
          </a:xfrm>
          <a:custGeom>
            <a:avLst/>
            <a:gdLst>
              <a:gd name="T0" fmla="*/ 13888101 w 546"/>
              <a:gd name="T1" fmla="*/ 5381864 h 173"/>
              <a:gd name="T2" fmla="*/ 17641501 w 546"/>
              <a:gd name="T3" fmla="*/ 9631151 h 173"/>
              <a:gd name="T4" fmla="*/ 20644568 w 546"/>
              <a:gd name="T5" fmla="*/ 7648079 h 173"/>
              <a:gd name="T6" fmla="*/ 24773568 w 546"/>
              <a:gd name="T7" fmla="*/ 7648079 h 173"/>
              <a:gd name="T8" fmla="*/ 30216085 w 546"/>
              <a:gd name="T9" fmla="*/ 12463655 h 173"/>
              <a:gd name="T10" fmla="*/ 39224853 w 546"/>
              <a:gd name="T11" fmla="*/ 5381864 h 173"/>
              <a:gd name="T12" fmla="*/ 45605720 w 546"/>
              <a:gd name="T13" fmla="*/ 5381864 h 173"/>
              <a:gd name="T14" fmla="*/ 48796370 w 546"/>
              <a:gd name="T15" fmla="*/ 4532432 h 173"/>
              <a:gd name="T16" fmla="*/ 50485487 w 546"/>
              <a:gd name="T17" fmla="*/ 3965612 h 173"/>
              <a:gd name="T18" fmla="*/ 52362187 w 546"/>
              <a:gd name="T19" fmla="*/ 3115648 h 173"/>
              <a:gd name="T20" fmla="*/ 53675704 w 546"/>
              <a:gd name="T21" fmla="*/ 849964 h 173"/>
              <a:gd name="T22" fmla="*/ 60244588 w 546"/>
              <a:gd name="T23" fmla="*/ 1416252 h 173"/>
              <a:gd name="T24" fmla="*/ 62496888 w 546"/>
              <a:gd name="T25" fmla="*/ 3399324 h 173"/>
              <a:gd name="T26" fmla="*/ 65311938 w 546"/>
              <a:gd name="T27" fmla="*/ 1983072 h 173"/>
              <a:gd name="T28" fmla="*/ 66250288 w 546"/>
              <a:gd name="T29" fmla="*/ 0 h 173"/>
              <a:gd name="T30" fmla="*/ 68877755 w 546"/>
              <a:gd name="T31" fmla="*/ 1983072 h 173"/>
              <a:gd name="T32" fmla="*/ 73006755 w 546"/>
              <a:gd name="T33" fmla="*/ 1983072 h 173"/>
              <a:gd name="T34" fmla="*/ 81827506 w 546"/>
              <a:gd name="T35" fmla="*/ 283144 h 173"/>
              <a:gd name="T36" fmla="*/ 90460673 w 546"/>
              <a:gd name="T37" fmla="*/ 1699396 h 173"/>
              <a:gd name="T38" fmla="*/ 99093840 w 546"/>
              <a:gd name="T39" fmla="*/ 3399324 h 173"/>
              <a:gd name="T40" fmla="*/ 102284491 w 546"/>
              <a:gd name="T41" fmla="*/ 13879907 h 173"/>
              <a:gd name="T42" fmla="*/ 100782957 w 546"/>
              <a:gd name="T43" fmla="*/ 16996087 h 173"/>
              <a:gd name="T44" fmla="*/ 96278790 w 546"/>
              <a:gd name="T45" fmla="*/ 17562375 h 173"/>
              <a:gd name="T46" fmla="*/ 90648256 w 546"/>
              <a:gd name="T47" fmla="*/ 15296159 h 173"/>
              <a:gd name="T48" fmla="*/ 77510922 w 546"/>
              <a:gd name="T49" fmla="*/ 12463655 h 173"/>
              <a:gd name="T50" fmla="*/ 82202673 w 546"/>
              <a:gd name="T51" fmla="*/ 22944238 h 173"/>
              <a:gd name="T52" fmla="*/ 88396390 w 546"/>
              <a:gd name="T53" fmla="*/ 28892922 h 173"/>
              <a:gd name="T54" fmla="*/ 92524957 w 546"/>
              <a:gd name="T55" fmla="*/ 33708498 h 173"/>
              <a:gd name="T56" fmla="*/ 89147156 w 546"/>
              <a:gd name="T57" fmla="*/ 38524074 h 173"/>
              <a:gd name="T58" fmla="*/ 84267389 w 546"/>
              <a:gd name="T59" fmla="*/ 40223469 h 173"/>
              <a:gd name="T60" fmla="*/ 79950806 w 546"/>
              <a:gd name="T61" fmla="*/ 39940325 h 173"/>
              <a:gd name="T62" fmla="*/ 77323339 w 546"/>
              <a:gd name="T63" fmla="*/ 37957253 h 173"/>
              <a:gd name="T64" fmla="*/ 74883455 w 546"/>
              <a:gd name="T65" fmla="*/ 36824146 h 173"/>
              <a:gd name="T66" fmla="*/ 72255988 w 546"/>
              <a:gd name="T67" fmla="*/ 34274786 h 173"/>
              <a:gd name="T68" fmla="*/ 70379288 w 546"/>
              <a:gd name="T69" fmla="*/ 29459210 h 173"/>
              <a:gd name="T70" fmla="*/ 68502588 w 546"/>
              <a:gd name="T71" fmla="*/ 26060418 h 173"/>
              <a:gd name="T72" fmla="*/ 64561171 w 546"/>
              <a:gd name="T73" fmla="*/ 23794202 h 173"/>
              <a:gd name="T74" fmla="*/ 60995354 w 546"/>
              <a:gd name="T75" fmla="*/ 21527987 h 173"/>
              <a:gd name="T76" fmla="*/ 56866354 w 546"/>
              <a:gd name="T77" fmla="*/ 24644166 h 173"/>
              <a:gd name="T78" fmla="*/ 48420770 w 546"/>
              <a:gd name="T79" fmla="*/ 37957253 h 173"/>
              <a:gd name="T80" fmla="*/ 44291770 w 546"/>
              <a:gd name="T81" fmla="*/ 46172153 h 173"/>
              <a:gd name="T82" fmla="*/ 41289136 w 546"/>
              <a:gd name="T83" fmla="*/ 48721513 h 173"/>
              <a:gd name="T84" fmla="*/ 35283436 w 546"/>
              <a:gd name="T85" fmla="*/ 47305261 h 173"/>
              <a:gd name="T86" fmla="*/ 30966852 w 546"/>
              <a:gd name="T87" fmla="*/ 43905937 h 173"/>
              <a:gd name="T88" fmla="*/ 21207751 w 546"/>
              <a:gd name="T89" fmla="*/ 29742886 h 173"/>
              <a:gd name="T90" fmla="*/ 17829518 w 546"/>
              <a:gd name="T91" fmla="*/ 25777274 h 173"/>
              <a:gd name="T92" fmla="*/ 11260634 w 546"/>
              <a:gd name="T93" fmla="*/ 21527987 h 173"/>
              <a:gd name="T94" fmla="*/ 3002634 w 546"/>
              <a:gd name="T95" fmla="*/ 16429267 h 173"/>
              <a:gd name="T96" fmla="*/ 2064284 w 546"/>
              <a:gd name="T97" fmla="*/ 9631151 h 173"/>
              <a:gd name="T98" fmla="*/ 5254934 w 546"/>
              <a:gd name="T99" fmla="*/ 5381864 h 173"/>
              <a:gd name="T100" fmla="*/ 8820751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>
              <a:alpha val="63000"/>
            </a:srgb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ru-RU" sz="2700"/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B396A6D1-60D7-492F-B949-8A1B94C93654}"/>
              </a:ext>
            </a:extLst>
          </p:cNvPr>
          <p:cNvSpPr txBox="1"/>
          <p:nvPr/>
        </p:nvSpPr>
        <p:spPr>
          <a:xfrm>
            <a:off x="9923554" y="1633349"/>
            <a:ext cx="1582646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RUSSIA</a:t>
            </a:r>
            <a:endParaRPr lang="ru-RU" sz="2400" dirty="0"/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2135568" y="8360708"/>
            <a:ext cx="2183772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UZBEKISTAN </a:t>
            </a:r>
            <a:endParaRPr lang="ru-RU" sz="2400" dirty="0"/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EBBA794-58AA-47EE-A74F-E35D606A309A}"/>
              </a:ext>
            </a:extLst>
          </p:cNvPr>
          <p:cNvSpPr txBox="1"/>
          <p:nvPr/>
        </p:nvSpPr>
        <p:spPr>
          <a:xfrm>
            <a:off x="505776" y="2210907"/>
            <a:ext cx="2438116" cy="47219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 cap="all">
                <a:solidFill>
                  <a:srgbClr val="66CEF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STONIA</a:t>
            </a: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8DAC535B-0BF4-46F1-83B1-2D8C0E519F34}"/>
              </a:ext>
            </a:extLst>
          </p:cNvPr>
          <p:cNvSpPr txBox="1"/>
          <p:nvPr/>
        </p:nvSpPr>
        <p:spPr>
          <a:xfrm>
            <a:off x="8317530" y="8383177"/>
            <a:ext cx="2404929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 smtClean="0"/>
              <a:t>KAZAKHSTAN</a:t>
            </a:r>
            <a:endParaRPr lang="ru-RU" sz="2400" dirty="0"/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A8D50D9E-79D2-4072-BC48-8D38004FCCB3}"/>
              </a:ext>
            </a:extLst>
          </p:cNvPr>
          <p:cNvSpPr txBox="1"/>
          <p:nvPr/>
        </p:nvSpPr>
        <p:spPr>
          <a:xfrm>
            <a:off x="345960" y="6286500"/>
            <a:ext cx="2512967" cy="47219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 cap="all">
                <a:solidFill>
                  <a:srgbClr val="66CEF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TVIA</a:t>
            </a: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6" name="Овал 145">
            <a:extLst>
              <a:ext uri="{FF2B5EF4-FFF2-40B4-BE49-F238E27FC236}">
                <a16:creationId xmlns:a16="http://schemas.microsoft.com/office/drawing/2014/main" id="{42073531-4DBD-4548-9A2D-D58A9B166D22}"/>
              </a:ext>
            </a:extLst>
          </p:cNvPr>
          <p:cNvSpPr/>
          <p:nvPr/>
        </p:nvSpPr>
        <p:spPr>
          <a:xfrm>
            <a:off x="7765445" y="3631769"/>
            <a:ext cx="216000" cy="216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pic>
        <p:nvPicPr>
          <p:cNvPr id="159" name="Picture 2">
            <a:extLst>
              <a:ext uri="{FF2B5EF4-FFF2-40B4-BE49-F238E27FC236}">
                <a16:creationId xmlns:a16="http://schemas.microsoft.com/office/drawing/2014/main" id="{BB4707B8-7BA1-4E5E-A0C5-352AF0D8D3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3233" y="5118688"/>
            <a:ext cx="1243651" cy="765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" name="Рисунок 160">
            <a:extLst>
              <a:ext uri="{FF2B5EF4-FFF2-40B4-BE49-F238E27FC236}">
                <a16:creationId xmlns:a16="http://schemas.microsoft.com/office/drawing/2014/main" id="{7E19D7A5-2BCC-4CE8-BD92-4396E7F0E14F}"/>
              </a:ext>
            </a:extLst>
          </p:cNvPr>
          <p:cNvPicPr>
            <a:picLocks noChangeAspect="1"/>
          </p:cNvPicPr>
          <p:nvPr/>
        </p:nvPicPr>
        <p:blipFill>
          <a:blip r:embed="rId82"/>
          <a:stretch>
            <a:fillRect/>
          </a:stretch>
        </p:blipFill>
        <p:spPr>
          <a:xfrm>
            <a:off x="15477146" y="8197225"/>
            <a:ext cx="2658454" cy="538338"/>
          </a:xfrm>
          <a:prstGeom prst="rect">
            <a:avLst/>
          </a:prstGeom>
        </p:spPr>
      </p:pic>
      <p:pic>
        <p:nvPicPr>
          <p:cNvPr id="162" name="Рисунок 161">
            <a:extLst>
              <a:ext uri="{FF2B5EF4-FFF2-40B4-BE49-F238E27FC236}">
                <a16:creationId xmlns:a16="http://schemas.microsoft.com/office/drawing/2014/main" id="{9A786462-96B3-4049-891C-0E64EB48EF12}"/>
              </a:ext>
            </a:extLst>
          </p:cNvPr>
          <p:cNvPicPr>
            <a:picLocks noChangeAspect="1"/>
          </p:cNvPicPr>
          <p:nvPr/>
        </p:nvPicPr>
        <p:blipFill>
          <a:blip r:embed="rId8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74430" y="8138652"/>
            <a:ext cx="722626" cy="698539"/>
          </a:xfrm>
          <a:prstGeom prst="rect">
            <a:avLst/>
          </a:prstGeom>
        </p:spPr>
      </p:pic>
      <p:pic>
        <p:nvPicPr>
          <p:cNvPr id="163" name="Рисунок 162">
            <a:extLst>
              <a:ext uri="{FF2B5EF4-FFF2-40B4-BE49-F238E27FC236}">
                <a16:creationId xmlns:a16="http://schemas.microsoft.com/office/drawing/2014/main" id="{3452C28F-3B73-43A0-93F4-78DBC6545962}"/>
              </a:ext>
            </a:extLst>
          </p:cNvPr>
          <p:cNvPicPr>
            <a:picLocks noChangeAspect="1"/>
          </p:cNvPicPr>
          <p:nvPr/>
        </p:nvPicPr>
        <p:blipFill>
          <a:blip r:embed="rId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1300" y="9035425"/>
            <a:ext cx="2029900" cy="375275"/>
          </a:xfrm>
          <a:prstGeom prst="rect">
            <a:avLst/>
          </a:prstGeom>
        </p:spPr>
      </p:pic>
      <p:pic>
        <p:nvPicPr>
          <p:cNvPr id="164" name="Рисунок 163">
            <a:extLst>
              <a:ext uri="{FF2B5EF4-FFF2-40B4-BE49-F238E27FC236}">
                <a16:creationId xmlns:a16="http://schemas.microsoft.com/office/drawing/2014/main" id="{B09BB7E6-546B-4166-BF43-88DD339325EE}"/>
              </a:ext>
            </a:extLst>
          </p:cNvPr>
          <p:cNvPicPr>
            <a:picLocks noChangeAspect="1"/>
          </p:cNvPicPr>
          <p:nvPr/>
        </p:nvPicPr>
        <p:blipFill>
          <a:blip r:embed="rId8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43716" y="5120333"/>
            <a:ext cx="873653" cy="762668"/>
          </a:xfrm>
          <a:prstGeom prst="rect">
            <a:avLst/>
          </a:prstGeom>
        </p:spPr>
      </p:pic>
      <p:sp>
        <p:nvSpPr>
          <p:cNvPr id="165" name="Овал 164">
            <a:extLst>
              <a:ext uri="{FF2B5EF4-FFF2-40B4-BE49-F238E27FC236}">
                <a16:creationId xmlns:a16="http://schemas.microsoft.com/office/drawing/2014/main" id="{38422BA7-838D-4582-BB7D-1C81740027B8}"/>
              </a:ext>
            </a:extLst>
          </p:cNvPr>
          <p:cNvSpPr/>
          <p:nvPr/>
        </p:nvSpPr>
        <p:spPr>
          <a:xfrm>
            <a:off x="6396719" y="5085532"/>
            <a:ext cx="216000" cy="216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166" name="Овал 165">
            <a:extLst>
              <a:ext uri="{FF2B5EF4-FFF2-40B4-BE49-F238E27FC236}">
                <a16:creationId xmlns:a16="http://schemas.microsoft.com/office/drawing/2014/main" id="{471BA363-D335-4636-ADBD-A9654C2A67FB}"/>
              </a:ext>
            </a:extLst>
          </p:cNvPr>
          <p:cNvSpPr/>
          <p:nvPr/>
        </p:nvSpPr>
        <p:spPr>
          <a:xfrm>
            <a:off x="6547910" y="5846022"/>
            <a:ext cx="216000" cy="216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pic>
        <p:nvPicPr>
          <p:cNvPr id="168" name="Рисунок 167">
            <a:extLst>
              <a:ext uri="{FF2B5EF4-FFF2-40B4-BE49-F238E27FC236}">
                <a16:creationId xmlns:a16="http://schemas.microsoft.com/office/drawing/2014/main" id="{FD2E96D6-14AD-4298-9652-C577C1838A39}"/>
              </a:ext>
            </a:extLst>
          </p:cNvPr>
          <p:cNvPicPr>
            <a:picLocks noChangeAspect="1"/>
          </p:cNvPicPr>
          <p:nvPr/>
        </p:nvPicPr>
        <p:blipFill rotWithShape="1">
          <a:blip r:embed="rId86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9690358" y="2180989"/>
            <a:ext cx="588845" cy="459809"/>
          </a:xfrm>
          <a:prstGeom prst="rect">
            <a:avLst/>
          </a:prstGeom>
        </p:spPr>
      </p:pic>
      <p:sp>
        <p:nvSpPr>
          <p:cNvPr id="173" name="Овал 172">
            <a:extLst>
              <a:ext uri="{FF2B5EF4-FFF2-40B4-BE49-F238E27FC236}">
                <a16:creationId xmlns:a16="http://schemas.microsoft.com/office/drawing/2014/main" id="{F7AFD303-2411-4A23-8AB2-D3D4EBCBC964}"/>
              </a:ext>
            </a:extLst>
          </p:cNvPr>
          <p:cNvSpPr/>
          <p:nvPr/>
        </p:nvSpPr>
        <p:spPr>
          <a:xfrm>
            <a:off x="14402654" y="2033257"/>
            <a:ext cx="588845" cy="551699"/>
          </a:xfrm>
          <a:prstGeom prst="ellipse">
            <a:avLst/>
          </a:prstGeom>
          <a:solidFill>
            <a:schemeClr val="bg1">
              <a:alpha val="86000"/>
            </a:schemeClr>
          </a:solidFill>
          <a:ln>
            <a:solidFill>
              <a:srgbClr val="3D424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4" name="Рисунок 173">
            <a:extLst>
              <a:ext uri="{FF2B5EF4-FFF2-40B4-BE49-F238E27FC236}">
                <a16:creationId xmlns:a16="http://schemas.microsoft.com/office/drawing/2014/main" id="{FAC46070-8182-4412-B627-9C56BB26F3CB}"/>
              </a:ext>
            </a:extLst>
          </p:cNvPr>
          <p:cNvPicPr>
            <a:picLocks noChangeAspect="1"/>
          </p:cNvPicPr>
          <p:nvPr/>
        </p:nvPicPr>
        <p:blipFill rotWithShape="1">
          <a:blip r:embed="rId88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18"/>
          <a:stretch/>
        </p:blipFill>
        <p:spPr>
          <a:xfrm>
            <a:off x="10393789" y="2175932"/>
            <a:ext cx="605650" cy="430013"/>
          </a:xfrm>
          <a:prstGeom prst="rect">
            <a:avLst/>
          </a:prstGeom>
        </p:spPr>
      </p:pic>
      <p:cxnSp>
        <p:nvCxnSpPr>
          <p:cNvPr id="175" name="Прямая соединительная линия 174">
            <a:extLst>
              <a:ext uri="{FF2B5EF4-FFF2-40B4-BE49-F238E27FC236}">
                <a16:creationId xmlns:a16="http://schemas.microsoft.com/office/drawing/2014/main" id="{0A49B0F8-4EA8-4733-80B2-029FAC913E8D}"/>
              </a:ext>
            </a:extLst>
          </p:cNvPr>
          <p:cNvCxnSpPr>
            <a:cxnSpLocks/>
            <a:endCxn id="146" idx="7"/>
          </p:cNvCxnSpPr>
          <p:nvPr/>
        </p:nvCxnSpPr>
        <p:spPr>
          <a:xfrm flipH="1">
            <a:off x="7949813" y="2083248"/>
            <a:ext cx="1457708" cy="1580153"/>
          </a:xfrm>
          <a:prstGeom prst="line">
            <a:avLst/>
          </a:prstGeom>
          <a:ln w="635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>
            <a:extLst>
              <a:ext uri="{FF2B5EF4-FFF2-40B4-BE49-F238E27FC236}">
                <a16:creationId xmlns:a16="http://schemas.microsoft.com/office/drawing/2014/main" id="{D7CD7B8D-64FC-4B49-ACD9-D7B20F3D800D}"/>
              </a:ext>
            </a:extLst>
          </p:cNvPr>
          <p:cNvCxnSpPr>
            <a:cxnSpLocks/>
          </p:cNvCxnSpPr>
          <p:nvPr/>
        </p:nvCxnSpPr>
        <p:spPr>
          <a:xfrm>
            <a:off x="9407521" y="2095689"/>
            <a:ext cx="2520000" cy="0"/>
          </a:xfrm>
          <a:prstGeom prst="line">
            <a:avLst/>
          </a:prstGeom>
          <a:ln w="127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Прямая соединительная линия 178">
            <a:extLst>
              <a:ext uri="{FF2B5EF4-FFF2-40B4-BE49-F238E27FC236}">
                <a16:creationId xmlns:a16="http://schemas.microsoft.com/office/drawing/2014/main" id="{F8CB97EA-018A-4CB8-AAB7-B9AB487B66C2}"/>
              </a:ext>
            </a:extLst>
          </p:cNvPr>
          <p:cNvCxnSpPr>
            <a:cxnSpLocks/>
          </p:cNvCxnSpPr>
          <p:nvPr/>
        </p:nvCxnSpPr>
        <p:spPr>
          <a:xfrm flipV="1">
            <a:off x="14173200" y="1866900"/>
            <a:ext cx="0" cy="2634787"/>
          </a:xfrm>
          <a:prstGeom prst="line">
            <a:avLst/>
          </a:prstGeom>
          <a:ln w="28575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0" name="Рисунок 179">
            <a:extLst>
              <a:ext uri="{FF2B5EF4-FFF2-40B4-BE49-F238E27FC236}">
                <a16:creationId xmlns:a16="http://schemas.microsoft.com/office/drawing/2014/main" id="{0BE5328F-B003-43CB-B01F-1D399EB67286}"/>
              </a:ext>
            </a:extLst>
          </p:cNvPr>
          <p:cNvPicPr>
            <a:picLocks noChangeAspect="1"/>
          </p:cNvPicPr>
          <p:nvPr/>
        </p:nvPicPr>
        <p:blipFill rotWithShape="1">
          <a:blip r:embed="rId86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14382916" y="2079203"/>
            <a:ext cx="588845" cy="459809"/>
          </a:xfrm>
          <a:prstGeom prst="rect">
            <a:avLst/>
          </a:prstGeom>
        </p:spPr>
      </p:pic>
      <p:sp>
        <p:nvSpPr>
          <p:cNvPr id="181" name="TextBox 180">
            <a:extLst>
              <a:ext uri="{FF2B5EF4-FFF2-40B4-BE49-F238E27FC236}">
                <a16:creationId xmlns:a16="http://schemas.microsoft.com/office/drawing/2014/main" id="{D98188AB-AC5E-42B5-A607-3A095DFB6098}"/>
              </a:ext>
            </a:extLst>
          </p:cNvPr>
          <p:cNvSpPr txBox="1"/>
          <p:nvPr/>
        </p:nvSpPr>
        <p:spPr>
          <a:xfrm>
            <a:off x="15096805" y="2019300"/>
            <a:ext cx="3038795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INDUSTRIAL</a:t>
            </a:r>
          </a:p>
          <a:p>
            <a:r>
              <a:rPr lang="en-US" dirty="0" smtClean="0"/>
              <a:t>TRANSPORT</a:t>
            </a:r>
            <a:endParaRPr lang="ru-RU" dirty="0"/>
          </a:p>
        </p:txBody>
      </p:sp>
      <p:sp>
        <p:nvSpPr>
          <p:cNvPr id="182" name="Овал 181">
            <a:extLst>
              <a:ext uri="{FF2B5EF4-FFF2-40B4-BE49-F238E27FC236}">
                <a16:creationId xmlns:a16="http://schemas.microsoft.com/office/drawing/2014/main" id="{D7146EFB-D8B9-47EF-B5EE-99BDB7672DF5}"/>
              </a:ext>
            </a:extLst>
          </p:cNvPr>
          <p:cNvSpPr/>
          <p:nvPr/>
        </p:nvSpPr>
        <p:spPr>
          <a:xfrm>
            <a:off x="14406120" y="2804273"/>
            <a:ext cx="588845" cy="551699"/>
          </a:xfrm>
          <a:prstGeom prst="ellipse">
            <a:avLst/>
          </a:prstGeom>
          <a:solidFill>
            <a:schemeClr val="bg1">
              <a:alpha val="86000"/>
            </a:schemeClr>
          </a:solidFill>
          <a:ln>
            <a:solidFill>
              <a:srgbClr val="3D424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4" name="Овал 183">
            <a:extLst>
              <a:ext uri="{FF2B5EF4-FFF2-40B4-BE49-F238E27FC236}">
                <a16:creationId xmlns:a16="http://schemas.microsoft.com/office/drawing/2014/main" id="{6569ACE3-B3D0-4A2F-B863-F474D204E6FE}"/>
              </a:ext>
            </a:extLst>
          </p:cNvPr>
          <p:cNvSpPr/>
          <p:nvPr/>
        </p:nvSpPr>
        <p:spPr>
          <a:xfrm>
            <a:off x="14399088" y="4345494"/>
            <a:ext cx="588845" cy="551699"/>
          </a:xfrm>
          <a:prstGeom prst="ellipse">
            <a:avLst/>
          </a:prstGeom>
          <a:solidFill>
            <a:schemeClr val="bg1">
              <a:alpha val="86000"/>
            </a:schemeClr>
          </a:solidFill>
          <a:ln>
            <a:solidFill>
              <a:srgbClr val="3D424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FA5803D-419E-4D6F-86DE-6569435D8506}"/>
              </a:ext>
            </a:extLst>
          </p:cNvPr>
          <p:cNvPicPr>
            <a:picLocks noChangeAspect="1"/>
          </p:cNvPicPr>
          <p:nvPr/>
        </p:nvPicPr>
        <p:blipFill rotWithShape="1">
          <a:blip r:embed="rId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4401800" y="2781300"/>
            <a:ext cx="588844" cy="459809"/>
          </a:xfrm>
          <a:prstGeom prst="rect">
            <a:avLst/>
          </a:prstGeom>
        </p:spPr>
      </p:pic>
      <p:sp>
        <p:nvSpPr>
          <p:cNvPr id="186" name="TextBox 185">
            <a:extLst>
              <a:ext uri="{FF2B5EF4-FFF2-40B4-BE49-F238E27FC236}">
                <a16:creationId xmlns:a16="http://schemas.microsoft.com/office/drawing/2014/main" id="{3CFE1284-8A18-4A18-A748-7AD1DD62395F}"/>
              </a:ext>
            </a:extLst>
          </p:cNvPr>
          <p:cNvSpPr txBox="1"/>
          <p:nvPr/>
        </p:nvSpPr>
        <p:spPr>
          <a:xfrm>
            <a:off x="15096803" y="2781300"/>
            <a:ext cx="3038795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MAINLINE</a:t>
            </a:r>
          </a:p>
          <a:p>
            <a:r>
              <a:rPr lang="en-US" dirty="0" smtClean="0"/>
              <a:t>TRANSPORT</a:t>
            </a:r>
            <a:endParaRPr lang="ru-RU" dirty="0"/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296DC575-7E6E-4E0D-AD91-6B20F961EE2C}"/>
              </a:ext>
            </a:extLst>
          </p:cNvPr>
          <p:cNvSpPr txBox="1"/>
          <p:nvPr/>
        </p:nvSpPr>
        <p:spPr>
          <a:xfrm>
            <a:off x="15133618" y="4380410"/>
            <a:ext cx="3038795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METRO</a:t>
            </a:r>
          </a:p>
        </p:txBody>
      </p:sp>
      <p:pic>
        <p:nvPicPr>
          <p:cNvPr id="188" name="Рисунок 187">
            <a:extLst>
              <a:ext uri="{FF2B5EF4-FFF2-40B4-BE49-F238E27FC236}">
                <a16:creationId xmlns:a16="http://schemas.microsoft.com/office/drawing/2014/main" id="{BFC1845D-473D-4335-BB5B-FCF9D6E1A08E}"/>
              </a:ext>
            </a:extLst>
          </p:cNvPr>
          <p:cNvPicPr>
            <a:picLocks noChangeAspect="1"/>
          </p:cNvPicPr>
          <p:nvPr/>
        </p:nvPicPr>
        <p:blipFill rotWithShape="1">
          <a:blip r:embed="rId88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18"/>
          <a:stretch/>
        </p:blipFill>
        <p:spPr>
          <a:xfrm>
            <a:off x="14405750" y="4370575"/>
            <a:ext cx="605650" cy="430013"/>
          </a:xfrm>
          <a:prstGeom prst="rect">
            <a:avLst/>
          </a:prstGeom>
        </p:spPr>
      </p:pic>
      <p:pic>
        <p:nvPicPr>
          <p:cNvPr id="189" name="Рисунок 188">
            <a:extLst>
              <a:ext uri="{FF2B5EF4-FFF2-40B4-BE49-F238E27FC236}">
                <a16:creationId xmlns:a16="http://schemas.microsoft.com/office/drawing/2014/main" id="{3FDC4C41-DB48-475F-83C4-C53BCD6644E6}"/>
              </a:ext>
            </a:extLst>
          </p:cNvPr>
          <p:cNvPicPr>
            <a:picLocks noChangeAspect="1"/>
          </p:cNvPicPr>
          <p:nvPr/>
        </p:nvPicPr>
        <p:blipFill rotWithShape="1">
          <a:blip r:embed="rId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1027866" y="2135055"/>
            <a:ext cx="588844" cy="459809"/>
          </a:xfrm>
          <a:prstGeom prst="rect">
            <a:avLst/>
          </a:prstGeom>
        </p:spPr>
      </p:pic>
      <p:cxnSp>
        <p:nvCxnSpPr>
          <p:cNvPr id="191" name="Прямая соединительная линия 190">
            <a:extLst>
              <a:ext uri="{FF2B5EF4-FFF2-40B4-BE49-F238E27FC236}">
                <a16:creationId xmlns:a16="http://schemas.microsoft.com/office/drawing/2014/main" id="{2E34A578-20EA-4DC0-832A-51ED2ACC09E3}"/>
              </a:ext>
            </a:extLst>
          </p:cNvPr>
          <p:cNvCxnSpPr>
            <a:cxnSpLocks/>
          </p:cNvCxnSpPr>
          <p:nvPr/>
        </p:nvCxnSpPr>
        <p:spPr>
          <a:xfrm flipV="1">
            <a:off x="14173200" y="5148600"/>
            <a:ext cx="0" cy="4338300"/>
          </a:xfrm>
          <a:prstGeom prst="line">
            <a:avLst/>
          </a:prstGeom>
          <a:ln w="28575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Прямая соединительная линия 193">
            <a:extLst>
              <a:ext uri="{FF2B5EF4-FFF2-40B4-BE49-F238E27FC236}">
                <a16:creationId xmlns:a16="http://schemas.microsoft.com/office/drawing/2014/main" id="{D2DBA792-6053-4831-BCE6-CC588594E9BD}"/>
              </a:ext>
            </a:extLst>
          </p:cNvPr>
          <p:cNvCxnSpPr>
            <a:cxnSpLocks/>
            <a:endCxn id="165" idx="5"/>
          </p:cNvCxnSpPr>
          <p:nvPr/>
        </p:nvCxnSpPr>
        <p:spPr>
          <a:xfrm flipH="1" flipV="1">
            <a:off x="6581087" y="5269900"/>
            <a:ext cx="1663473" cy="3584175"/>
          </a:xfrm>
          <a:prstGeom prst="line">
            <a:avLst/>
          </a:prstGeom>
          <a:ln w="635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Прямая соединительная линия 199">
            <a:extLst>
              <a:ext uri="{FF2B5EF4-FFF2-40B4-BE49-F238E27FC236}">
                <a16:creationId xmlns:a16="http://schemas.microsoft.com/office/drawing/2014/main" id="{0B038D23-A18E-48E1-BD6A-2ABDE3D61F5D}"/>
              </a:ext>
            </a:extLst>
          </p:cNvPr>
          <p:cNvCxnSpPr>
            <a:cxnSpLocks/>
          </p:cNvCxnSpPr>
          <p:nvPr/>
        </p:nvCxnSpPr>
        <p:spPr>
          <a:xfrm>
            <a:off x="8223821" y="8844642"/>
            <a:ext cx="2520000" cy="0"/>
          </a:xfrm>
          <a:prstGeom prst="line">
            <a:avLst/>
          </a:prstGeom>
          <a:ln w="127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4" name="Рисунок 203">
            <a:extLst>
              <a:ext uri="{FF2B5EF4-FFF2-40B4-BE49-F238E27FC236}">
                <a16:creationId xmlns:a16="http://schemas.microsoft.com/office/drawing/2014/main" id="{078EA311-6E2B-48FE-9936-9374FA13A8B6}"/>
              </a:ext>
            </a:extLst>
          </p:cNvPr>
          <p:cNvPicPr>
            <a:picLocks noChangeAspect="1"/>
          </p:cNvPicPr>
          <p:nvPr/>
        </p:nvPicPr>
        <p:blipFill rotWithShape="1">
          <a:blip r:embed="rId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9113099" y="8874691"/>
            <a:ext cx="588844" cy="459809"/>
          </a:xfrm>
          <a:prstGeom prst="rect">
            <a:avLst/>
          </a:prstGeom>
        </p:spPr>
      </p:pic>
      <p:cxnSp>
        <p:nvCxnSpPr>
          <p:cNvPr id="205" name="Прямая соединительная линия 204">
            <a:extLst>
              <a:ext uri="{FF2B5EF4-FFF2-40B4-BE49-F238E27FC236}">
                <a16:creationId xmlns:a16="http://schemas.microsoft.com/office/drawing/2014/main" id="{05713D0A-B0F2-4991-B62C-37CEE5E3BA0E}"/>
              </a:ext>
            </a:extLst>
          </p:cNvPr>
          <p:cNvCxnSpPr>
            <a:cxnSpLocks/>
            <a:endCxn id="166" idx="3"/>
          </p:cNvCxnSpPr>
          <p:nvPr/>
        </p:nvCxnSpPr>
        <p:spPr>
          <a:xfrm flipV="1">
            <a:off x="4357721" y="6030390"/>
            <a:ext cx="2221821" cy="2748184"/>
          </a:xfrm>
          <a:prstGeom prst="line">
            <a:avLst/>
          </a:prstGeom>
          <a:ln w="635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Прямая соединительная линия 208">
            <a:extLst>
              <a:ext uri="{FF2B5EF4-FFF2-40B4-BE49-F238E27FC236}">
                <a16:creationId xmlns:a16="http://schemas.microsoft.com/office/drawing/2014/main" id="{BBC05726-65CD-457B-AD07-3E7DB5BE6F48}"/>
              </a:ext>
            </a:extLst>
          </p:cNvPr>
          <p:cNvCxnSpPr>
            <a:cxnSpLocks/>
          </p:cNvCxnSpPr>
          <p:nvPr/>
        </p:nvCxnSpPr>
        <p:spPr>
          <a:xfrm>
            <a:off x="1841249" y="8778573"/>
            <a:ext cx="2520000" cy="0"/>
          </a:xfrm>
          <a:prstGeom prst="line">
            <a:avLst/>
          </a:prstGeom>
          <a:ln w="127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1" name="Рисунок 210">
            <a:extLst>
              <a:ext uri="{FF2B5EF4-FFF2-40B4-BE49-F238E27FC236}">
                <a16:creationId xmlns:a16="http://schemas.microsoft.com/office/drawing/2014/main" id="{FCA2D6B3-B76F-404B-BEAC-2BCEFBDB0C31}"/>
              </a:ext>
            </a:extLst>
          </p:cNvPr>
          <p:cNvPicPr>
            <a:picLocks noChangeAspect="1"/>
          </p:cNvPicPr>
          <p:nvPr/>
        </p:nvPicPr>
        <p:blipFill rotWithShape="1">
          <a:blip r:embed="rId86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640"/>
          <a:stretch/>
        </p:blipFill>
        <p:spPr>
          <a:xfrm flipH="1">
            <a:off x="2689785" y="8812707"/>
            <a:ext cx="588845" cy="459809"/>
          </a:xfrm>
          <a:prstGeom prst="rect">
            <a:avLst/>
          </a:prstGeom>
        </p:spPr>
      </p:pic>
      <p:sp>
        <p:nvSpPr>
          <p:cNvPr id="212" name="Овал 211">
            <a:extLst>
              <a:ext uri="{FF2B5EF4-FFF2-40B4-BE49-F238E27FC236}">
                <a16:creationId xmlns:a16="http://schemas.microsoft.com/office/drawing/2014/main" id="{A3315DDE-77A9-4DEE-BC51-A4EE36C41498}"/>
              </a:ext>
            </a:extLst>
          </p:cNvPr>
          <p:cNvSpPr/>
          <p:nvPr/>
        </p:nvSpPr>
        <p:spPr>
          <a:xfrm>
            <a:off x="3418949" y="3987262"/>
            <a:ext cx="144000" cy="144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213" name="Овал 212">
            <a:extLst>
              <a:ext uri="{FF2B5EF4-FFF2-40B4-BE49-F238E27FC236}">
                <a16:creationId xmlns:a16="http://schemas.microsoft.com/office/drawing/2014/main" id="{95CFD965-23C1-4FA0-94C3-E4EBFF357EBB}"/>
              </a:ext>
            </a:extLst>
          </p:cNvPr>
          <p:cNvSpPr/>
          <p:nvPr/>
        </p:nvSpPr>
        <p:spPr>
          <a:xfrm>
            <a:off x="3435320" y="4248608"/>
            <a:ext cx="144000" cy="144000"/>
          </a:xfrm>
          <a:prstGeom prst="ellipse">
            <a:avLst/>
          </a:prstGeom>
          <a:solidFill>
            <a:srgbClr val="F640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cxnSp>
        <p:nvCxnSpPr>
          <p:cNvPr id="214" name="Прямая соединительная линия 213">
            <a:extLst>
              <a:ext uri="{FF2B5EF4-FFF2-40B4-BE49-F238E27FC236}">
                <a16:creationId xmlns:a16="http://schemas.microsoft.com/office/drawing/2014/main" id="{9C8C8E5C-0448-4910-A525-8ED4557A2D21}"/>
              </a:ext>
            </a:extLst>
          </p:cNvPr>
          <p:cNvCxnSpPr>
            <a:cxnSpLocks/>
            <a:endCxn id="212" idx="0"/>
          </p:cNvCxnSpPr>
          <p:nvPr/>
        </p:nvCxnSpPr>
        <p:spPr>
          <a:xfrm>
            <a:off x="3002973" y="2686301"/>
            <a:ext cx="487976" cy="1300961"/>
          </a:xfrm>
          <a:prstGeom prst="line">
            <a:avLst/>
          </a:prstGeom>
          <a:ln w="635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единительная линия 217">
            <a:extLst>
              <a:ext uri="{FF2B5EF4-FFF2-40B4-BE49-F238E27FC236}">
                <a16:creationId xmlns:a16="http://schemas.microsoft.com/office/drawing/2014/main" id="{271B9836-A41E-48BB-86D2-08EC422D79EE}"/>
              </a:ext>
            </a:extLst>
          </p:cNvPr>
          <p:cNvCxnSpPr>
            <a:cxnSpLocks/>
          </p:cNvCxnSpPr>
          <p:nvPr/>
        </p:nvCxnSpPr>
        <p:spPr>
          <a:xfrm>
            <a:off x="505775" y="2686301"/>
            <a:ext cx="2520000" cy="0"/>
          </a:xfrm>
          <a:prstGeom prst="line">
            <a:avLst/>
          </a:prstGeom>
          <a:ln w="127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Прямая соединительная линия 218">
            <a:extLst>
              <a:ext uri="{FF2B5EF4-FFF2-40B4-BE49-F238E27FC236}">
                <a16:creationId xmlns:a16="http://schemas.microsoft.com/office/drawing/2014/main" id="{AABFA6E1-5CFB-42C9-BEAE-5B16619A512E}"/>
              </a:ext>
            </a:extLst>
          </p:cNvPr>
          <p:cNvCxnSpPr>
            <a:cxnSpLocks/>
            <a:endCxn id="213" idx="3"/>
          </p:cNvCxnSpPr>
          <p:nvPr/>
        </p:nvCxnSpPr>
        <p:spPr>
          <a:xfrm flipV="1">
            <a:off x="2774364" y="4371520"/>
            <a:ext cx="682044" cy="2414648"/>
          </a:xfrm>
          <a:prstGeom prst="line">
            <a:avLst/>
          </a:prstGeom>
          <a:ln w="635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Прямая соединительная линия 222">
            <a:extLst>
              <a:ext uri="{FF2B5EF4-FFF2-40B4-BE49-F238E27FC236}">
                <a16:creationId xmlns:a16="http://schemas.microsoft.com/office/drawing/2014/main" id="{81193E2A-22D2-4CFC-A651-9503C0143096}"/>
              </a:ext>
            </a:extLst>
          </p:cNvPr>
          <p:cNvCxnSpPr>
            <a:cxnSpLocks/>
          </p:cNvCxnSpPr>
          <p:nvPr/>
        </p:nvCxnSpPr>
        <p:spPr>
          <a:xfrm>
            <a:off x="505775" y="6781067"/>
            <a:ext cx="2265080" cy="0"/>
          </a:xfrm>
          <a:prstGeom prst="line">
            <a:avLst/>
          </a:prstGeom>
          <a:ln w="12700">
            <a:solidFill>
              <a:srgbClr val="F640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4" name="Рисунок 223">
            <a:extLst>
              <a:ext uri="{FF2B5EF4-FFF2-40B4-BE49-F238E27FC236}">
                <a16:creationId xmlns:a16="http://schemas.microsoft.com/office/drawing/2014/main" id="{B7C0D47D-3329-49FB-B55D-14EBC0B68B18}"/>
              </a:ext>
            </a:extLst>
          </p:cNvPr>
          <p:cNvPicPr>
            <a:picLocks noChangeAspect="1"/>
          </p:cNvPicPr>
          <p:nvPr/>
        </p:nvPicPr>
        <p:blipFill rotWithShape="1">
          <a:blip r:embed="rId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369499" y="2694220"/>
            <a:ext cx="588844" cy="459809"/>
          </a:xfrm>
          <a:prstGeom prst="rect">
            <a:avLst/>
          </a:prstGeom>
        </p:spPr>
      </p:pic>
      <p:pic>
        <p:nvPicPr>
          <p:cNvPr id="225" name="Рисунок 224">
            <a:extLst>
              <a:ext uri="{FF2B5EF4-FFF2-40B4-BE49-F238E27FC236}">
                <a16:creationId xmlns:a16="http://schemas.microsoft.com/office/drawing/2014/main" id="{B109A635-4B85-4E6F-B1CE-0F0ECC522029}"/>
              </a:ext>
            </a:extLst>
          </p:cNvPr>
          <p:cNvPicPr>
            <a:picLocks noChangeAspect="1"/>
          </p:cNvPicPr>
          <p:nvPr/>
        </p:nvPicPr>
        <p:blipFill rotWithShape="1">
          <a:blip r:embed="rId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207567" y="6791385"/>
            <a:ext cx="588844" cy="459809"/>
          </a:xfrm>
          <a:prstGeom prst="rect">
            <a:avLst/>
          </a:prstGeom>
        </p:spPr>
      </p:pic>
      <p:pic>
        <p:nvPicPr>
          <p:cNvPr id="3092" name="Picture 6" descr="КРУ">
            <a:extLst>
              <a:ext uri="{FF2B5EF4-FFF2-40B4-BE49-F238E27FC236}">
                <a16:creationId xmlns:a16="http://schemas.microsoft.com/office/drawing/2014/main" id="{3EA1C87F-40C6-4691-A5FF-5B12F0E0A5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51896" y="6231146"/>
            <a:ext cx="1094375" cy="698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3" name="Picture 8" descr="Шуртанский газохимический комплекс - официальный сайт">
            <a:extLst>
              <a:ext uri="{FF2B5EF4-FFF2-40B4-BE49-F238E27FC236}">
                <a16:creationId xmlns:a16="http://schemas.microsoft.com/office/drawing/2014/main" id="{E39324A7-7C6B-4348-816D-D4A279222D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5226" y="7215612"/>
            <a:ext cx="815038" cy="74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10" descr="АГМК: совместные усилия - ключ к успеху">
            <a:extLst>
              <a:ext uri="{FF2B5EF4-FFF2-40B4-BE49-F238E27FC236}">
                <a16:creationId xmlns:a16="http://schemas.microsoft.com/office/drawing/2014/main" id="{984F04BF-9284-4044-ACE9-D40B6D1AC5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69" r="25593" b="9889"/>
          <a:stretch/>
        </p:blipFill>
        <p:spPr bwMode="auto">
          <a:xfrm>
            <a:off x="14405750" y="7171260"/>
            <a:ext cx="775055" cy="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30">
            <a:extLst>
              <a:ext uri="{FF2B5EF4-FFF2-40B4-BE49-F238E27FC236}">
                <a16:creationId xmlns:a16="http://schemas.microsoft.com/office/drawing/2014/main" id="{8A8C04F9-594F-AE48-B882-C7E30D4FDE20}"/>
              </a:ext>
            </a:extLst>
          </p:cNvPr>
          <p:cNvPicPr>
            <a:picLocks noChangeAspect="1"/>
          </p:cNvPicPr>
          <p:nvPr/>
        </p:nvPicPr>
        <p:blipFill>
          <a:blip r:embed="rId9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41702" y="5237197"/>
            <a:ext cx="1138373" cy="52894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2521" y="6246715"/>
            <a:ext cx="1155355" cy="115535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4558" y="6244764"/>
            <a:ext cx="1086885" cy="707834"/>
          </a:xfrm>
          <a:prstGeom prst="rect">
            <a:avLst/>
          </a:prstGeom>
        </p:spPr>
      </p:pic>
      <p:sp>
        <p:nvSpPr>
          <p:cNvPr id="142" name="TextBox 141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145" name="Рисунок 144"/>
          <p:cNvPicPr>
            <a:picLocks noChangeAspect="1"/>
          </p:cNvPicPr>
          <p:nvPr/>
        </p:nvPicPr>
        <p:blipFill>
          <a:blip r:embed="rId9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6237" y="397687"/>
            <a:ext cx="2078024" cy="451420"/>
          </a:xfrm>
          <a:prstGeom prst="rect">
            <a:avLst/>
          </a:prstGeom>
        </p:spPr>
      </p:pic>
      <p:pic>
        <p:nvPicPr>
          <p:cNvPr id="147" name="Рисунок 146"/>
          <p:cNvPicPr>
            <a:picLocks noChangeAspect="1"/>
          </p:cNvPicPr>
          <p:nvPr/>
        </p:nvPicPr>
        <p:blipFill>
          <a:blip r:embed="rId9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37876" y="7245819"/>
            <a:ext cx="1034796" cy="689357"/>
          </a:xfrm>
          <a:prstGeom prst="rect">
            <a:avLst/>
          </a:prstGeom>
        </p:spPr>
      </p:pic>
      <p:sp>
        <p:nvSpPr>
          <p:cNvPr id="148" name="Овал 147">
            <a:extLst>
              <a:ext uri="{FF2B5EF4-FFF2-40B4-BE49-F238E27FC236}">
                <a16:creationId xmlns:a16="http://schemas.microsoft.com/office/drawing/2014/main" id="{F7AFD303-2411-4A23-8AB2-D3D4EBCBC964}"/>
              </a:ext>
            </a:extLst>
          </p:cNvPr>
          <p:cNvSpPr/>
          <p:nvPr/>
        </p:nvSpPr>
        <p:spPr>
          <a:xfrm>
            <a:off x="14406120" y="3579216"/>
            <a:ext cx="588845" cy="551699"/>
          </a:xfrm>
          <a:prstGeom prst="ellipse">
            <a:avLst/>
          </a:prstGeom>
          <a:solidFill>
            <a:schemeClr val="bg1">
              <a:alpha val="86000"/>
            </a:schemeClr>
          </a:solidFill>
          <a:ln>
            <a:solidFill>
              <a:srgbClr val="3D424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49" name="Рисунок 148"/>
          <p:cNvPicPr>
            <a:picLocks noChangeAspect="1"/>
          </p:cNvPicPr>
          <p:nvPr/>
        </p:nvPicPr>
        <p:blipFill>
          <a:blip r:embed="rId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06521" y="3622042"/>
            <a:ext cx="430434" cy="430434"/>
          </a:xfrm>
          <a:prstGeom prst="rect">
            <a:avLst/>
          </a:prstGeom>
        </p:spPr>
      </p:pic>
      <p:sp>
        <p:nvSpPr>
          <p:cNvPr id="150" name="TextBox 149">
            <a:extLst>
              <a:ext uri="{FF2B5EF4-FFF2-40B4-BE49-F238E27FC236}">
                <a16:creationId xmlns:a16="http://schemas.microsoft.com/office/drawing/2014/main" id="{296DC575-7E6E-4E0D-AD91-6B20F961EE2C}"/>
              </a:ext>
            </a:extLst>
          </p:cNvPr>
          <p:cNvSpPr txBox="1"/>
          <p:nvPr/>
        </p:nvSpPr>
        <p:spPr>
          <a:xfrm>
            <a:off x="15095812" y="3559670"/>
            <a:ext cx="3038795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OMMUTER</a:t>
            </a:r>
          </a:p>
          <a:p>
            <a:r>
              <a:rPr lang="en-US" dirty="0" smtClean="0"/>
              <a:t>TRANSPORT</a:t>
            </a:r>
          </a:p>
        </p:txBody>
      </p:sp>
    </p:spTree>
    <p:extLst>
      <p:ext uri="{BB962C8B-B14F-4D97-AF65-F5344CB8AC3E}">
        <p14:creationId xmlns:p14="http://schemas.microsoft.com/office/powerpoint/2010/main" val="5294283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40D634B8-ECCA-422C-B4E7-619E4E88C8F1}"/>
              </a:ext>
            </a:extLst>
          </p:cNvPr>
          <p:cNvSpPr/>
          <p:nvPr/>
        </p:nvSpPr>
        <p:spPr>
          <a:xfrm flipH="1">
            <a:off x="0" y="2844"/>
            <a:ext cx="18287998" cy="10284156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33" name="AutoShape 2">
            <a:extLst>
              <a:ext uri="{FF2B5EF4-FFF2-40B4-BE49-F238E27FC236}">
                <a16:creationId xmlns:a16="http://schemas.microsoft.com/office/drawing/2014/main" id="{0BA98C1B-4EBD-4DF4-9134-88E0CE810F16}"/>
              </a:ext>
            </a:extLst>
          </p:cNvPr>
          <p:cNvSpPr>
            <a:spLocks noChangeAspect="1"/>
          </p:cNvSpPr>
          <p:nvPr/>
        </p:nvSpPr>
        <p:spPr>
          <a:xfrm>
            <a:off x="3905172" y="1257300"/>
            <a:ext cx="2807266" cy="2573329"/>
          </a:xfrm>
          <a:prstGeom prst="roundRect">
            <a:avLst>
              <a:gd name="adj" fmla="val 11091"/>
            </a:avLst>
          </a:prstGeom>
          <a:solidFill>
            <a:srgbClr val="F6252D"/>
          </a:solidFill>
        </p:spPr>
      </p:sp>
      <p:sp>
        <p:nvSpPr>
          <p:cNvPr id="42" name="AutoShape 2">
            <a:extLst>
              <a:ext uri="{FF2B5EF4-FFF2-40B4-BE49-F238E27FC236}">
                <a16:creationId xmlns:a16="http://schemas.microsoft.com/office/drawing/2014/main" id="{95E55277-72C3-4B0A-9A6A-7C253DA4C6B4}"/>
              </a:ext>
            </a:extLst>
          </p:cNvPr>
          <p:cNvSpPr>
            <a:spLocks noChangeAspect="1"/>
          </p:cNvSpPr>
          <p:nvPr/>
        </p:nvSpPr>
        <p:spPr>
          <a:xfrm>
            <a:off x="580442" y="1257300"/>
            <a:ext cx="2807266" cy="2573329"/>
          </a:xfrm>
          <a:prstGeom prst="roundRect">
            <a:avLst>
              <a:gd name="adj" fmla="val 11091"/>
            </a:avLst>
          </a:prstGeom>
          <a:solidFill>
            <a:srgbClr val="F6252D"/>
          </a:solidFill>
        </p:spPr>
      </p:sp>
      <p:sp>
        <p:nvSpPr>
          <p:cNvPr id="48" name="TextBox 9">
            <a:extLst>
              <a:ext uri="{FF2B5EF4-FFF2-40B4-BE49-F238E27FC236}">
                <a16:creationId xmlns:a16="http://schemas.microsoft.com/office/drawing/2014/main" id="{B1084C03-CD57-4877-AEE3-33A08DADA0D3}"/>
              </a:ext>
            </a:extLst>
          </p:cNvPr>
          <p:cNvSpPr txBox="1"/>
          <p:nvPr/>
        </p:nvSpPr>
        <p:spPr>
          <a:xfrm>
            <a:off x="503063" y="1257300"/>
            <a:ext cx="2962023" cy="52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CONNECT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4CF2C481-7922-4B0E-AF16-9326DE8ABD45}"/>
              </a:ext>
            </a:extLst>
          </p:cNvPr>
          <p:cNvSpPr/>
          <p:nvPr/>
        </p:nvSpPr>
        <p:spPr>
          <a:xfrm>
            <a:off x="1552298" y="24765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629AEC-456F-4B16-B360-38F4C1DDDCA2}"/>
              </a:ext>
            </a:extLst>
          </p:cNvPr>
          <p:cNvSpPr txBox="1"/>
          <p:nvPr/>
        </p:nvSpPr>
        <p:spPr>
          <a:xfrm>
            <a:off x="618554" y="1790700"/>
            <a:ext cx="2893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virtual coupling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2" name="TextBox 9">
            <a:extLst>
              <a:ext uri="{FF2B5EF4-FFF2-40B4-BE49-F238E27FC236}">
                <a16:creationId xmlns:a16="http://schemas.microsoft.com/office/drawing/2014/main" id="{BE6AFF99-3CA9-4D13-960E-461F9257A87B}"/>
              </a:ext>
            </a:extLst>
          </p:cNvPr>
          <p:cNvSpPr txBox="1"/>
          <p:nvPr/>
        </p:nvSpPr>
        <p:spPr>
          <a:xfrm>
            <a:off x="3774794" y="1257300"/>
            <a:ext cx="2974707" cy="52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VISION</a:t>
            </a: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9C39F09F-D365-42F5-8BF4-EC7777567143}"/>
              </a:ext>
            </a:extLst>
          </p:cNvPr>
          <p:cNvSpPr/>
          <p:nvPr/>
        </p:nvSpPr>
        <p:spPr>
          <a:xfrm>
            <a:off x="4877030" y="24765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AD2BE33-16C2-4E0F-9D7A-7531D8C92813}"/>
              </a:ext>
            </a:extLst>
          </p:cNvPr>
          <p:cNvSpPr txBox="1"/>
          <p:nvPr/>
        </p:nvSpPr>
        <p:spPr>
          <a:xfrm>
            <a:off x="3890060" y="1790700"/>
            <a:ext cx="29675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machine vision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40775D1-830A-4E8A-B6AE-839EE5293A5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04"/>
          <a:stretch/>
        </p:blipFill>
        <p:spPr>
          <a:xfrm>
            <a:off x="1601437" y="2571234"/>
            <a:ext cx="979773" cy="843542"/>
          </a:xfrm>
          <a:prstGeom prst="rect">
            <a:avLst/>
          </a:prstGeom>
        </p:spPr>
      </p:pic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799" y="122743"/>
            <a:ext cx="16768763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6"/>
              </a:lnSpc>
              <a:defRPr/>
            </a:pPr>
            <a:r>
              <a:rPr lang="en-US" sz="3600" b="1" spc="159" dirty="0" smtClean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KEY PRODUCTS FOR INTEGRATED SOLUTIONS</a:t>
            </a:r>
            <a:endParaRPr lang="ru-RU" sz="36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14CD0F0-BA95-45C2-B29B-6BC4624974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04"/>
          <a:stretch/>
        </p:blipFill>
        <p:spPr>
          <a:xfrm>
            <a:off x="5001365" y="2637561"/>
            <a:ext cx="863045" cy="743043"/>
          </a:xfrm>
          <a:prstGeom prst="rect">
            <a:avLst/>
          </a:prstGeom>
        </p:spPr>
      </p:pic>
      <p:sp>
        <p:nvSpPr>
          <p:cNvPr id="46" name="AutoShape 2">
            <a:extLst>
              <a:ext uri="{FF2B5EF4-FFF2-40B4-BE49-F238E27FC236}">
                <a16:creationId xmlns:a16="http://schemas.microsoft.com/office/drawing/2014/main" id="{95490347-256C-4B52-86F5-23C34A2C21F1}"/>
              </a:ext>
            </a:extLst>
          </p:cNvPr>
          <p:cNvSpPr>
            <a:spLocks noChangeAspect="1"/>
          </p:cNvSpPr>
          <p:nvPr/>
        </p:nvSpPr>
        <p:spPr>
          <a:xfrm>
            <a:off x="7398869" y="4194735"/>
            <a:ext cx="2820099" cy="2585092"/>
          </a:xfrm>
          <a:prstGeom prst="roundRect">
            <a:avLst>
              <a:gd name="adj" fmla="val 11091"/>
            </a:avLst>
          </a:prstGeom>
          <a:solidFill>
            <a:schemeClr val="bg1">
              <a:lumMod val="50000"/>
            </a:schemeClr>
          </a:solidFill>
        </p:spPr>
      </p:sp>
      <p:sp>
        <p:nvSpPr>
          <p:cNvPr id="47" name="AutoShape 2">
            <a:extLst>
              <a:ext uri="{FF2B5EF4-FFF2-40B4-BE49-F238E27FC236}">
                <a16:creationId xmlns:a16="http://schemas.microsoft.com/office/drawing/2014/main" id="{A1471015-61B9-4169-89F5-41302BFA1E75}"/>
              </a:ext>
            </a:extLst>
          </p:cNvPr>
          <p:cNvSpPr>
            <a:spLocks noChangeAspect="1"/>
          </p:cNvSpPr>
          <p:nvPr/>
        </p:nvSpPr>
        <p:spPr>
          <a:xfrm>
            <a:off x="3899863" y="4152900"/>
            <a:ext cx="2812575" cy="2578196"/>
          </a:xfrm>
          <a:prstGeom prst="roundRect">
            <a:avLst>
              <a:gd name="adj" fmla="val 11091"/>
            </a:avLst>
          </a:prstGeom>
          <a:solidFill>
            <a:schemeClr val="bg1">
              <a:lumMod val="50000"/>
            </a:schemeClr>
          </a:solidFill>
        </p:spPr>
      </p:sp>
      <p:sp>
        <p:nvSpPr>
          <p:cNvPr id="49" name="TextBox 9">
            <a:extLst>
              <a:ext uri="{FF2B5EF4-FFF2-40B4-BE49-F238E27FC236}">
                <a16:creationId xmlns:a16="http://schemas.microsoft.com/office/drawing/2014/main" id="{C585A41B-C0F6-4064-B5C4-42CEAB72F4EF}"/>
              </a:ext>
            </a:extLst>
          </p:cNvPr>
          <p:cNvSpPr txBox="1"/>
          <p:nvPr/>
        </p:nvSpPr>
        <p:spPr>
          <a:xfrm>
            <a:off x="3581135" y="4231526"/>
            <a:ext cx="3505465" cy="52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POINT</a:t>
            </a: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41DC1FB7-E27E-4DBA-AD0C-A346C01F8378}"/>
              </a:ext>
            </a:extLst>
          </p:cNvPr>
          <p:cNvSpPr/>
          <p:nvPr/>
        </p:nvSpPr>
        <p:spPr>
          <a:xfrm>
            <a:off x="4800600" y="5600700"/>
            <a:ext cx="991309" cy="8917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rgbClr val="66CE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2B0B14B-C97F-4C28-8F0F-596F257D4CDE}"/>
              </a:ext>
            </a:extLst>
          </p:cNvPr>
          <p:cNvSpPr txBox="1"/>
          <p:nvPr/>
        </p:nvSpPr>
        <p:spPr>
          <a:xfrm>
            <a:off x="3789948" y="4764927"/>
            <a:ext cx="30849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wireless point control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TextBox 9">
            <a:extLst>
              <a:ext uri="{FF2B5EF4-FFF2-40B4-BE49-F238E27FC236}">
                <a16:creationId xmlns:a16="http://schemas.microsoft.com/office/drawing/2014/main" id="{75EB868D-2DB9-4C86-9064-D31293F53CE0}"/>
              </a:ext>
            </a:extLst>
          </p:cNvPr>
          <p:cNvSpPr txBox="1"/>
          <p:nvPr/>
        </p:nvSpPr>
        <p:spPr>
          <a:xfrm>
            <a:off x="7086335" y="4229100"/>
            <a:ext cx="3505465" cy="52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TRACK</a:t>
            </a:r>
          </a:p>
        </p:txBody>
      </p:sp>
      <p:sp>
        <p:nvSpPr>
          <p:cNvPr id="58" name="Овал 57">
            <a:extLst>
              <a:ext uri="{FF2B5EF4-FFF2-40B4-BE49-F238E27FC236}">
                <a16:creationId xmlns:a16="http://schemas.microsoft.com/office/drawing/2014/main" id="{7148E523-C513-4932-90FB-5AC6C99E8BB7}"/>
              </a:ext>
            </a:extLst>
          </p:cNvPr>
          <p:cNvSpPr/>
          <p:nvPr/>
        </p:nvSpPr>
        <p:spPr>
          <a:xfrm>
            <a:off x="8305800" y="5600700"/>
            <a:ext cx="991309" cy="8917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rgbClr val="66CE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BA84C0C-8657-4A06-9D33-9791599B5B49}"/>
              </a:ext>
            </a:extLst>
          </p:cNvPr>
          <p:cNvSpPr txBox="1"/>
          <p:nvPr/>
        </p:nvSpPr>
        <p:spPr>
          <a:xfrm>
            <a:off x="7295146" y="4762501"/>
            <a:ext cx="30849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track circuits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9" name="AutoShape 2">
            <a:extLst>
              <a:ext uri="{FF2B5EF4-FFF2-40B4-BE49-F238E27FC236}">
                <a16:creationId xmlns:a16="http://schemas.microsoft.com/office/drawing/2014/main" id="{459B5714-8ED3-4CAD-BD5A-15636F895CE6}"/>
              </a:ext>
            </a:extLst>
          </p:cNvPr>
          <p:cNvSpPr>
            <a:spLocks noChangeAspect="1"/>
          </p:cNvSpPr>
          <p:nvPr/>
        </p:nvSpPr>
        <p:spPr>
          <a:xfrm>
            <a:off x="10861777" y="4198269"/>
            <a:ext cx="2812388" cy="2578024"/>
          </a:xfrm>
          <a:prstGeom prst="roundRect">
            <a:avLst>
              <a:gd name="adj" fmla="val 11091"/>
            </a:avLst>
          </a:prstGeom>
          <a:solidFill>
            <a:schemeClr val="bg1">
              <a:lumMod val="50000"/>
            </a:schemeClr>
          </a:solidFill>
        </p:spPr>
      </p:sp>
      <p:sp>
        <p:nvSpPr>
          <p:cNvPr id="70" name="TextBox 9">
            <a:extLst>
              <a:ext uri="{FF2B5EF4-FFF2-40B4-BE49-F238E27FC236}">
                <a16:creationId xmlns:a16="http://schemas.microsoft.com/office/drawing/2014/main" id="{68566D55-F3FC-41F2-B5C8-33E6EFB14108}"/>
              </a:ext>
            </a:extLst>
          </p:cNvPr>
          <p:cNvSpPr txBox="1"/>
          <p:nvPr/>
        </p:nvSpPr>
        <p:spPr>
          <a:xfrm>
            <a:off x="10668000" y="4229100"/>
            <a:ext cx="3352424" cy="52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LOCK</a:t>
            </a:r>
          </a:p>
        </p:txBody>
      </p:sp>
      <p:sp>
        <p:nvSpPr>
          <p:cNvPr id="71" name="Овал 70">
            <a:extLst>
              <a:ext uri="{FF2B5EF4-FFF2-40B4-BE49-F238E27FC236}">
                <a16:creationId xmlns:a16="http://schemas.microsoft.com/office/drawing/2014/main" id="{0D94FA4D-4E79-4A43-A341-15D2C3E58452}"/>
              </a:ext>
            </a:extLst>
          </p:cNvPr>
          <p:cNvSpPr/>
          <p:nvPr/>
        </p:nvSpPr>
        <p:spPr>
          <a:xfrm>
            <a:off x="11816595" y="5600700"/>
            <a:ext cx="991309" cy="89170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rgbClr val="66CE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1A5F4C9-DCE7-4165-8A8E-DFC35B4A7E0C}"/>
              </a:ext>
            </a:extLst>
          </p:cNvPr>
          <p:cNvSpPr txBox="1"/>
          <p:nvPr/>
        </p:nvSpPr>
        <p:spPr>
          <a:xfrm>
            <a:off x="10796587" y="4762500"/>
            <a:ext cx="30820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en-US" sz="1200" dirty="0">
                <a:solidFill>
                  <a:schemeClr val="bg1"/>
                </a:solidFill>
                <a:latin typeface="Century Gothic" panose="020B0502020202020204" pitchFamily="34" charset="0"/>
              </a:rPr>
              <a:t>computer-based interlocking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0ED7140-BEAB-4442-A24C-4A14472A8DA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10"/>
          <a:stretch/>
        </p:blipFill>
        <p:spPr>
          <a:xfrm flipH="1">
            <a:off x="8358921" y="5626634"/>
            <a:ext cx="902927" cy="81620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C87EF2E-3DA0-42D9-8727-25AFA89B4E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68"/>
          <a:stretch/>
        </p:blipFill>
        <p:spPr>
          <a:xfrm>
            <a:off x="4859543" y="5620044"/>
            <a:ext cx="873422" cy="72872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FC2D463-BF33-45B6-BFF4-20B75EA0A75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04"/>
          <a:stretch/>
        </p:blipFill>
        <p:spPr>
          <a:xfrm>
            <a:off x="11848993" y="5600700"/>
            <a:ext cx="926512" cy="797686"/>
          </a:xfrm>
          <a:prstGeom prst="rect">
            <a:avLst/>
          </a:prstGeom>
        </p:spPr>
      </p:pic>
      <p:sp>
        <p:nvSpPr>
          <p:cNvPr id="66" name="AutoShape 2">
            <a:extLst>
              <a:ext uri="{FF2B5EF4-FFF2-40B4-BE49-F238E27FC236}">
                <a16:creationId xmlns:a16="http://schemas.microsoft.com/office/drawing/2014/main" id="{BFA53150-E4B5-4CCC-9941-3266C4A07305}"/>
              </a:ext>
            </a:extLst>
          </p:cNvPr>
          <p:cNvSpPr>
            <a:spLocks noChangeAspect="1"/>
          </p:cNvSpPr>
          <p:nvPr/>
        </p:nvSpPr>
        <p:spPr>
          <a:xfrm>
            <a:off x="7387065" y="1257300"/>
            <a:ext cx="2807266" cy="2573329"/>
          </a:xfrm>
          <a:prstGeom prst="roundRect">
            <a:avLst>
              <a:gd name="adj" fmla="val 11091"/>
            </a:avLst>
          </a:prstGeom>
          <a:solidFill>
            <a:srgbClr val="F6252D"/>
          </a:solidFill>
        </p:spPr>
      </p:sp>
      <p:sp>
        <p:nvSpPr>
          <p:cNvPr id="67" name="TextBox 9">
            <a:extLst>
              <a:ext uri="{FF2B5EF4-FFF2-40B4-BE49-F238E27FC236}">
                <a16:creationId xmlns:a16="http://schemas.microsoft.com/office/drawing/2014/main" id="{17053E5A-7F6C-449D-96A7-956ADE8FB711}"/>
              </a:ext>
            </a:extLst>
          </p:cNvPr>
          <p:cNvSpPr txBox="1"/>
          <p:nvPr/>
        </p:nvSpPr>
        <p:spPr>
          <a:xfrm>
            <a:off x="7255847" y="1257300"/>
            <a:ext cx="2970000" cy="52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DRIVE</a:t>
            </a:r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846E801E-6A4C-4368-AED1-5E9B322ECAEB}"/>
              </a:ext>
            </a:extLst>
          </p:cNvPr>
          <p:cNvSpPr/>
          <p:nvPr/>
        </p:nvSpPr>
        <p:spPr>
          <a:xfrm>
            <a:off x="8358923" y="24765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1E6BED7-95DC-4D44-A73E-FCE2EC5DDAB7}"/>
              </a:ext>
            </a:extLst>
          </p:cNvPr>
          <p:cNvSpPr txBox="1"/>
          <p:nvPr/>
        </p:nvSpPr>
        <p:spPr>
          <a:xfrm>
            <a:off x="7387067" y="1790700"/>
            <a:ext cx="297797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ATO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75" name="AutoShape 2">
            <a:extLst>
              <a:ext uri="{FF2B5EF4-FFF2-40B4-BE49-F238E27FC236}">
                <a16:creationId xmlns:a16="http://schemas.microsoft.com/office/drawing/2014/main" id="{77395D9F-A443-4EB5-B3F2-D391D316CEC6}"/>
              </a:ext>
            </a:extLst>
          </p:cNvPr>
          <p:cNvSpPr>
            <a:spLocks noChangeAspect="1"/>
          </p:cNvSpPr>
          <p:nvPr/>
        </p:nvSpPr>
        <p:spPr>
          <a:xfrm>
            <a:off x="10788024" y="1257300"/>
            <a:ext cx="2807266" cy="2573329"/>
          </a:xfrm>
          <a:prstGeom prst="roundRect">
            <a:avLst>
              <a:gd name="adj" fmla="val 11091"/>
            </a:avLst>
          </a:prstGeom>
          <a:solidFill>
            <a:srgbClr val="F6252D"/>
          </a:solidFill>
        </p:spPr>
      </p:sp>
      <p:sp>
        <p:nvSpPr>
          <p:cNvPr id="77" name="TextBox 9">
            <a:extLst>
              <a:ext uri="{FF2B5EF4-FFF2-40B4-BE49-F238E27FC236}">
                <a16:creationId xmlns:a16="http://schemas.microsoft.com/office/drawing/2014/main" id="{22C837EF-F38A-42D3-A358-63EE3CF7895B}"/>
              </a:ext>
            </a:extLst>
          </p:cNvPr>
          <p:cNvSpPr txBox="1"/>
          <p:nvPr/>
        </p:nvSpPr>
        <p:spPr>
          <a:xfrm>
            <a:off x="10654673" y="1257300"/>
            <a:ext cx="2980110" cy="52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SAFE</a:t>
            </a:r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id="{A58D57A4-8BBF-4723-99CD-9809D67283FA}"/>
              </a:ext>
            </a:extLst>
          </p:cNvPr>
          <p:cNvSpPr/>
          <p:nvPr/>
        </p:nvSpPr>
        <p:spPr>
          <a:xfrm>
            <a:off x="11759882" y="24765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86480F7-C30F-463A-A198-E38419279B2D}"/>
              </a:ext>
            </a:extLst>
          </p:cNvPr>
          <p:cNvSpPr txBox="1"/>
          <p:nvPr/>
        </p:nvSpPr>
        <p:spPr>
          <a:xfrm>
            <a:off x="10772073" y="1790700"/>
            <a:ext cx="29700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ATP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87" name="AutoShape 2">
            <a:extLst>
              <a:ext uri="{FF2B5EF4-FFF2-40B4-BE49-F238E27FC236}">
                <a16:creationId xmlns:a16="http://schemas.microsoft.com/office/drawing/2014/main" id="{9EA45A16-F1FC-460F-838A-14990F4D0189}"/>
              </a:ext>
            </a:extLst>
          </p:cNvPr>
          <p:cNvSpPr>
            <a:spLocks noChangeAspect="1"/>
          </p:cNvSpPr>
          <p:nvPr/>
        </p:nvSpPr>
        <p:spPr>
          <a:xfrm>
            <a:off x="14326100" y="1257300"/>
            <a:ext cx="2807266" cy="2573329"/>
          </a:xfrm>
          <a:prstGeom prst="roundRect">
            <a:avLst>
              <a:gd name="adj" fmla="val 11091"/>
            </a:avLst>
          </a:prstGeom>
          <a:solidFill>
            <a:srgbClr val="F6252D"/>
          </a:solidFill>
        </p:spPr>
      </p:sp>
      <p:sp>
        <p:nvSpPr>
          <p:cNvPr id="88" name="TextBox 9">
            <a:extLst>
              <a:ext uri="{FF2B5EF4-FFF2-40B4-BE49-F238E27FC236}">
                <a16:creationId xmlns:a16="http://schemas.microsoft.com/office/drawing/2014/main" id="{6A7D430F-E48F-4508-9A3E-E42091B9003A}"/>
              </a:ext>
            </a:extLst>
          </p:cNvPr>
          <p:cNvSpPr txBox="1"/>
          <p:nvPr/>
        </p:nvSpPr>
        <p:spPr>
          <a:xfrm>
            <a:off x="14251200" y="1257300"/>
            <a:ext cx="2957066" cy="52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DETECT</a:t>
            </a:r>
          </a:p>
        </p:txBody>
      </p:sp>
      <p:sp>
        <p:nvSpPr>
          <p:cNvPr id="89" name="Овал 88">
            <a:extLst>
              <a:ext uri="{FF2B5EF4-FFF2-40B4-BE49-F238E27FC236}">
                <a16:creationId xmlns:a16="http://schemas.microsoft.com/office/drawing/2014/main" id="{16589697-FCD2-4F55-A0CE-07D63B5FA36E}"/>
              </a:ext>
            </a:extLst>
          </p:cNvPr>
          <p:cNvSpPr/>
          <p:nvPr/>
        </p:nvSpPr>
        <p:spPr>
          <a:xfrm>
            <a:off x="15297957" y="2476500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6654818-98AD-41F9-BA8F-357283626851}"/>
              </a:ext>
            </a:extLst>
          </p:cNvPr>
          <p:cNvSpPr txBox="1"/>
          <p:nvPr/>
        </p:nvSpPr>
        <p:spPr>
          <a:xfrm>
            <a:off x="14326102" y="1790700"/>
            <a:ext cx="296942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predictive diagnostic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92" name="AutoShape 2">
            <a:extLst>
              <a:ext uri="{FF2B5EF4-FFF2-40B4-BE49-F238E27FC236}">
                <a16:creationId xmlns:a16="http://schemas.microsoft.com/office/drawing/2014/main" id="{7A5A1DF9-850E-45C8-BF87-715BB5533A6D}"/>
              </a:ext>
            </a:extLst>
          </p:cNvPr>
          <p:cNvSpPr>
            <a:spLocks noChangeAspect="1"/>
          </p:cNvSpPr>
          <p:nvPr/>
        </p:nvSpPr>
        <p:spPr>
          <a:xfrm>
            <a:off x="381000" y="9854058"/>
            <a:ext cx="235635" cy="216000"/>
          </a:xfrm>
          <a:prstGeom prst="roundRect">
            <a:avLst>
              <a:gd name="adj" fmla="val 11091"/>
            </a:avLst>
          </a:prstGeom>
          <a:solidFill>
            <a:srgbClr val="F6252D"/>
          </a:solidFill>
        </p:spPr>
      </p:sp>
      <p:sp>
        <p:nvSpPr>
          <p:cNvPr id="93" name="AutoShape 2">
            <a:extLst>
              <a:ext uri="{FF2B5EF4-FFF2-40B4-BE49-F238E27FC236}">
                <a16:creationId xmlns:a16="http://schemas.microsoft.com/office/drawing/2014/main" id="{0D89D5A3-4C54-4B8D-89B4-CF3AE537049A}"/>
              </a:ext>
            </a:extLst>
          </p:cNvPr>
          <p:cNvSpPr>
            <a:spLocks noChangeAspect="1"/>
          </p:cNvSpPr>
          <p:nvPr/>
        </p:nvSpPr>
        <p:spPr>
          <a:xfrm>
            <a:off x="2438400" y="9854058"/>
            <a:ext cx="235635" cy="216000"/>
          </a:xfrm>
          <a:prstGeom prst="roundRect">
            <a:avLst>
              <a:gd name="adj" fmla="val 11091"/>
            </a:avLst>
          </a:prstGeom>
          <a:solidFill>
            <a:schemeClr val="bg1">
              <a:lumMod val="50000"/>
            </a:schemeClr>
          </a:solidFill>
        </p:spPr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F66B269-AE73-4075-BD0C-48EE0C0F9931}"/>
              </a:ext>
            </a:extLst>
          </p:cNvPr>
          <p:cNvSpPr txBox="1"/>
          <p:nvPr/>
        </p:nvSpPr>
        <p:spPr>
          <a:xfrm>
            <a:off x="570132" y="9818853"/>
            <a:ext cx="3038795" cy="3538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ru-RU" sz="1050" dirty="0"/>
              <a:t>- </a:t>
            </a:r>
            <a:r>
              <a:rPr lang="en-US" sz="1050" dirty="0" smtClean="0"/>
              <a:t>on-board systems</a:t>
            </a:r>
            <a:endParaRPr lang="ru-RU" sz="1050" dirty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D632304-AE65-41EF-9288-EAA2EFA942B5}"/>
              </a:ext>
            </a:extLst>
          </p:cNvPr>
          <p:cNvSpPr txBox="1"/>
          <p:nvPr/>
        </p:nvSpPr>
        <p:spPr>
          <a:xfrm>
            <a:off x="2603623" y="9818853"/>
            <a:ext cx="3720977" cy="3538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ru-RU" sz="1050" dirty="0"/>
              <a:t>- </a:t>
            </a:r>
            <a:r>
              <a:rPr lang="en-US" sz="1050" dirty="0" smtClean="0"/>
              <a:t>Signaling systems</a:t>
            </a:r>
            <a:endParaRPr lang="ru-RU" sz="1050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69C639D-CC8F-43D6-B3B4-2C7482538C4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64"/>
          <a:stretch/>
        </p:blipFill>
        <p:spPr>
          <a:xfrm>
            <a:off x="15393004" y="2727715"/>
            <a:ext cx="835623" cy="71224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CD52EBC-5854-45A6-9B0E-98D90C75775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44"/>
          <a:stretch/>
        </p:blipFill>
        <p:spPr>
          <a:xfrm>
            <a:off x="11876548" y="2708893"/>
            <a:ext cx="871401" cy="749892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0C039CCD-5408-4D85-86ED-5F78627378B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48"/>
          <a:stretch/>
        </p:blipFill>
        <p:spPr>
          <a:xfrm>
            <a:off x="8440814" y="2541691"/>
            <a:ext cx="943803" cy="775350"/>
          </a:xfrm>
          <a:prstGeom prst="rect">
            <a:avLst/>
          </a:prstGeom>
        </p:spPr>
      </p:pic>
      <p:sp>
        <p:nvSpPr>
          <p:cNvPr id="51" name="AutoShape 2">
            <a:extLst>
              <a:ext uri="{FF2B5EF4-FFF2-40B4-BE49-F238E27FC236}">
                <a16:creationId xmlns:a16="http://schemas.microsoft.com/office/drawing/2014/main" id="{BFA53150-E4B5-4CCC-9941-3266C4A07305}"/>
              </a:ext>
            </a:extLst>
          </p:cNvPr>
          <p:cNvSpPr>
            <a:spLocks noChangeAspect="1"/>
          </p:cNvSpPr>
          <p:nvPr/>
        </p:nvSpPr>
        <p:spPr>
          <a:xfrm>
            <a:off x="7390356" y="7133057"/>
            <a:ext cx="2835491" cy="2599201"/>
          </a:xfrm>
          <a:prstGeom prst="roundRect">
            <a:avLst>
              <a:gd name="adj" fmla="val 11091"/>
            </a:avLst>
          </a:prstGeom>
          <a:solidFill>
            <a:srgbClr val="435059"/>
          </a:solidFill>
        </p:spPr>
      </p:sp>
      <p:sp>
        <p:nvSpPr>
          <p:cNvPr id="55" name="TextBox 9">
            <a:extLst>
              <a:ext uri="{FF2B5EF4-FFF2-40B4-BE49-F238E27FC236}">
                <a16:creationId xmlns:a16="http://schemas.microsoft.com/office/drawing/2014/main" id="{17053E5A-7F6C-449D-96A7-956ADE8FB711}"/>
              </a:ext>
            </a:extLst>
          </p:cNvPr>
          <p:cNvSpPr txBox="1"/>
          <p:nvPr/>
        </p:nvSpPr>
        <p:spPr>
          <a:xfrm>
            <a:off x="7374232" y="7119747"/>
            <a:ext cx="2970000" cy="5383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90">
              <a:lnSpc>
                <a:spcPts val="4896"/>
              </a:lnSpc>
              <a:defRPr/>
            </a:pPr>
            <a:r>
              <a:rPr lang="en-US" sz="2000" b="1" spc="353" dirty="0" smtClean="0">
                <a:solidFill>
                  <a:prstClr val="white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TRL@TRAFFIC</a:t>
            </a:r>
            <a:endParaRPr lang="en-US" sz="2000" b="1" spc="353" dirty="0">
              <a:solidFill>
                <a:prstClr val="white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sp>
        <p:nvSpPr>
          <p:cNvPr id="60" name="Овал 59">
            <a:extLst>
              <a:ext uri="{FF2B5EF4-FFF2-40B4-BE49-F238E27FC236}">
                <a16:creationId xmlns:a16="http://schemas.microsoft.com/office/drawing/2014/main" id="{846E801E-6A4C-4368-AED1-5E9B322ECAEB}"/>
              </a:ext>
            </a:extLst>
          </p:cNvPr>
          <p:cNvSpPr/>
          <p:nvPr/>
        </p:nvSpPr>
        <p:spPr>
          <a:xfrm>
            <a:off x="8305800" y="8403957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1E6BED7-95DC-4D44-A73E-FCE2EC5DDAB7}"/>
              </a:ext>
            </a:extLst>
          </p:cNvPr>
          <p:cNvSpPr txBox="1"/>
          <p:nvPr/>
        </p:nvSpPr>
        <p:spPr>
          <a:xfrm>
            <a:off x="7348635" y="7666865"/>
            <a:ext cx="297797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ntegrated solution</a:t>
            </a:r>
            <a:r>
              <a:rPr lang="en-US" sz="135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)</a:t>
            </a:r>
            <a:endParaRPr lang="ru-RU" sz="135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CE91FFF7-4276-43DC-972D-462B6925920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82"/>
          <a:stretch/>
        </p:blipFill>
        <p:spPr>
          <a:xfrm>
            <a:off x="8363500" y="8518072"/>
            <a:ext cx="991464" cy="858786"/>
          </a:xfrm>
          <a:prstGeom prst="rect">
            <a:avLst/>
          </a:prstGeom>
        </p:spPr>
      </p:pic>
      <p:sp>
        <p:nvSpPr>
          <p:cNvPr id="64" name="AutoShape 2">
            <a:extLst>
              <a:ext uri="{FF2B5EF4-FFF2-40B4-BE49-F238E27FC236}">
                <a16:creationId xmlns:a16="http://schemas.microsoft.com/office/drawing/2014/main" id="{0D89D5A3-4C54-4B8D-89B4-CF3AE537049A}"/>
              </a:ext>
            </a:extLst>
          </p:cNvPr>
          <p:cNvSpPr>
            <a:spLocks noChangeAspect="1"/>
          </p:cNvSpPr>
          <p:nvPr/>
        </p:nvSpPr>
        <p:spPr>
          <a:xfrm>
            <a:off x="5165205" y="9832711"/>
            <a:ext cx="235635" cy="216000"/>
          </a:xfrm>
          <a:prstGeom prst="roundRect">
            <a:avLst>
              <a:gd name="adj" fmla="val 11091"/>
            </a:avLst>
          </a:prstGeom>
          <a:solidFill>
            <a:srgbClr val="435059"/>
          </a:solidFill>
        </p:spPr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D632304-AE65-41EF-9288-EAA2EFA942B5}"/>
              </a:ext>
            </a:extLst>
          </p:cNvPr>
          <p:cNvSpPr txBox="1"/>
          <p:nvPr/>
        </p:nvSpPr>
        <p:spPr>
          <a:xfrm>
            <a:off x="5369897" y="9809779"/>
            <a:ext cx="3720977" cy="3538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ru-RU" sz="1050" dirty="0"/>
              <a:t>- </a:t>
            </a:r>
            <a:r>
              <a:rPr lang="en-US" sz="1050" dirty="0" smtClean="0"/>
              <a:t>Integrated solutions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41739554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Грузовой поезд, ведомый электровозом ВЛ80Т (Ростовская область)">
            <a:extLst>
              <a:ext uri="{FF2B5EF4-FFF2-40B4-BE49-F238E27FC236}">
                <a16:creationId xmlns:a16="http://schemas.microsoft.com/office/drawing/2014/main" id="{20ED8391-74E4-46E2-BE85-16C3E3125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43500"/>
            <a:ext cx="6885902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66D2C38D-037E-43C9-AC55-6CF210F37BB5}"/>
              </a:ext>
            </a:extLst>
          </p:cNvPr>
          <p:cNvSpPr/>
          <p:nvPr/>
        </p:nvSpPr>
        <p:spPr>
          <a:xfrm>
            <a:off x="0" y="4754"/>
            <a:ext cx="7516631" cy="10282245"/>
          </a:xfrm>
          <a:prstGeom prst="rect">
            <a:avLst/>
          </a:prstGeom>
          <a:gradFill>
            <a:gsLst>
              <a:gs pos="45000">
                <a:schemeClr val="accent1">
                  <a:lumMod val="5000"/>
                  <a:lumOff val="95000"/>
                </a:schemeClr>
              </a:gs>
              <a:gs pos="77000">
                <a:srgbClr val="D9D9D9">
                  <a:alpha val="50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700" dirty="0"/>
          </a:p>
        </p:txBody>
      </p:sp>
      <p:sp>
        <p:nvSpPr>
          <p:cNvPr id="75" name="Параллелограмм 74">
            <a:extLst>
              <a:ext uri="{FF2B5EF4-FFF2-40B4-BE49-F238E27FC236}">
                <a16:creationId xmlns:a16="http://schemas.microsoft.com/office/drawing/2014/main" id="{40615F64-2E02-4E60-91D2-FE85ACE3AC75}"/>
              </a:ext>
            </a:extLst>
          </p:cNvPr>
          <p:cNvSpPr/>
          <p:nvPr/>
        </p:nvSpPr>
        <p:spPr>
          <a:xfrm>
            <a:off x="5775987" y="4754"/>
            <a:ext cx="6885902" cy="10287000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4" name="Параллелограмм 73">
            <a:extLst>
              <a:ext uri="{FF2B5EF4-FFF2-40B4-BE49-F238E27FC236}">
                <a16:creationId xmlns:a16="http://schemas.microsoft.com/office/drawing/2014/main" id="{B1EB1536-EEF8-4434-86B9-8271BFBCCF93}"/>
              </a:ext>
            </a:extLst>
          </p:cNvPr>
          <p:cNvSpPr/>
          <p:nvPr/>
        </p:nvSpPr>
        <p:spPr>
          <a:xfrm>
            <a:off x="5867400" y="0"/>
            <a:ext cx="1828800" cy="10287000"/>
          </a:xfrm>
          <a:prstGeom prst="parallelogram">
            <a:avLst>
              <a:gd name="adj" fmla="val 93109"/>
            </a:avLst>
          </a:prstGeom>
          <a:solidFill>
            <a:srgbClr val="F64047"/>
          </a:solidFill>
          <a:ln>
            <a:solidFill>
              <a:srgbClr val="F640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200"/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id="{777BD0EC-EB35-43DB-950A-F1D9141540B0}"/>
              </a:ext>
            </a:extLst>
          </p:cNvPr>
          <p:cNvSpPr txBox="1"/>
          <p:nvPr/>
        </p:nvSpPr>
        <p:spPr>
          <a:xfrm>
            <a:off x="304799" y="122741"/>
            <a:ext cx="12669075" cy="8043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205"/>
              </a:lnSpc>
              <a:defRPr/>
            </a:pPr>
            <a:r>
              <a:rPr lang="ru-RU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С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TRL</a:t>
            </a:r>
            <a:r>
              <a:rPr lang="en-US" sz="4000" b="1" spc="159" dirty="0">
                <a:solidFill>
                  <a:srgbClr val="F64047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@</a:t>
            </a:r>
            <a:r>
              <a:rPr lang="en-US" sz="4000" b="1" spc="159" dirty="0">
                <a:solidFill>
                  <a:srgbClr val="3D4248"/>
                </a:solidFill>
                <a:latin typeface="Century Gothic" panose="020B0502020202020204" pitchFamily="34" charset="0"/>
                <a:cs typeface="Clear Sans Regular" panose="020B0604020202020204" charset="0"/>
              </a:rPr>
              <a:t>CONNECT</a:t>
            </a:r>
            <a:endParaRPr lang="ru-RU" sz="4000" b="1" spc="159" dirty="0">
              <a:solidFill>
                <a:srgbClr val="3D4248"/>
              </a:solidFill>
              <a:latin typeface="Century Gothic" panose="020B0502020202020204" pitchFamily="34" charset="0"/>
              <a:cs typeface="Clear Sans Regular" panose="020B0604020202020204" charset="0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850422-F5B0-47E5-BAA8-3FDF15FB5CF7}"/>
              </a:ext>
            </a:extLst>
          </p:cNvPr>
          <p:cNvSpPr/>
          <p:nvPr/>
        </p:nvSpPr>
        <p:spPr>
          <a:xfrm>
            <a:off x="228600" y="1359863"/>
            <a:ext cx="6487066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Virtual coupling</a:t>
            </a:r>
            <a:r>
              <a:rPr lang="ru-RU" sz="32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 </a:t>
            </a:r>
            <a: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3200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en-US" sz="24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ontrol of multiple freight trains via radio channel 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44167132-D1B7-4DAA-A1C5-917CEEA4AA31}"/>
              </a:ext>
            </a:extLst>
          </p:cNvPr>
          <p:cNvSpPr/>
          <p:nvPr/>
        </p:nvSpPr>
        <p:spPr>
          <a:xfrm>
            <a:off x="6934200" y="3445562"/>
            <a:ext cx="3591621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KEY 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FUNCTIONS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392613EC-9585-44F9-964D-1C91E919EB54}"/>
              </a:ext>
            </a:extLst>
          </p:cNvPr>
          <p:cNvSpPr/>
          <p:nvPr/>
        </p:nvSpPr>
        <p:spPr>
          <a:xfrm>
            <a:off x="6799481" y="6999740"/>
            <a:ext cx="2749080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USTOMER 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BENIFITS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D2B7C56A-C8EF-4458-8E66-0903A75E6903}"/>
              </a:ext>
            </a:extLst>
          </p:cNvPr>
          <p:cNvSpPr/>
          <p:nvPr/>
        </p:nvSpPr>
        <p:spPr>
          <a:xfrm>
            <a:off x="10358860" y="1790700"/>
            <a:ext cx="7748838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One driver controls 5 trains </a:t>
            </a: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/>
            </a:r>
            <a:b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</a:br>
            <a:r>
              <a:rPr lang="ru-RU" sz="20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(</a:t>
            </a:r>
            <a:r>
              <a:rPr lang="en-US" sz="20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utopilot for </a:t>
            </a:r>
            <a:r>
              <a:rPr lang="ru-RU" sz="20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«</a:t>
            </a:r>
            <a:r>
              <a:rPr lang="en-US" sz="2000" dirty="0">
                <a:solidFill>
                  <a:srgbClr val="3D4248"/>
                </a:solidFill>
                <a:latin typeface="Century Gothic" panose="020B0502020202020204" pitchFamily="34" charset="0"/>
              </a:rPr>
              <a:t>subordinated</a:t>
            </a:r>
            <a:r>
              <a:rPr lang="en-US" sz="20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» trains</a:t>
            </a:r>
            <a:r>
              <a:rPr lang="ru-RU" sz="2000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)</a:t>
            </a:r>
            <a:endParaRPr lang="ru-RU" sz="2000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en-US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T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rains communicate via radio channel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Continuous data exchange between trains and infrastructure 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0567FE3-F9DA-4033-94FA-6FF5B3D36B61}"/>
              </a:ext>
            </a:extLst>
          </p:cNvPr>
          <p:cNvCxnSpPr>
            <a:cxnSpLocks/>
          </p:cNvCxnSpPr>
          <p:nvPr/>
        </p:nvCxnSpPr>
        <p:spPr>
          <a:xfrm>
            <a:off x="7010400" y="4686300"/>
            <a:ext cx="111245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FBA722F9-62BB-4347-B10B-85BC3A8D91E4}"/>
              </a:ext>
            </a:extLst>
          </p:cNvPr>
          <p:cNvGrpSpPr/>
          <p:nvPr/>
        </p:nvGrpSpPr>
        <p:grpSpPr>
          <a:xfrm>
            <a:off x="8010056" y="1888572"/>
            <a:ext cx="1404000" cy="1404000"/>
            <a:chOff x="8010056" y="1888572"/>
            <a:chExt cx="1404000" cy="1404000"/>
          </a:xfrm>
        </p:grpSpPr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A4C0EE39-C872-4143-BE7A-3AA84E84C6C7}"/>
                </a:ext>
              </a:extLst>
            </p:cNvPr>
            <p:cNvSpPr/>
            <p:nvPr/>
          </p:nvSpPr>
          <p:spPr>
            <a:xfrm>
              <a:off x="8010056" y="1888572"/>
              <a:ext cx="1404000" cy="1404000"/>
            </a:xfrm>
            <a:prstGeom prst="ellipse">
              <a:avLst/>
            </a:prstGeom>
            <a:solidFill>
              <a:srgbClr val="F64047"/>
            </a:solidFill>
            <a:ln>
              <a:solidFill>
                <a:srgbClr val="F64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200"/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CE91FFF7-4276-43DC-972D-462B692592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82"/>
            <a:stretch/>
          </p:blipFill>
          <p:spPr>
            <a:xfrm>
              <a:off x="8030028" y="2006322"/>
              <a:ext cx="1382539" cy="1197527"/>
            </a:xfrm>
            <a:prstGeom prst="rect">
              <a:avLst/>
            </a:prstGeom>
          </p:spPr>
        </p:pic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355779EB-E11F-4938-ADB8-C24FCCDBB5E0}"/>
              </a:ext>
            </a:extLst>
          </p:cNvPr>
          <p:cNvGrpSpPr/>
          <p:nvPr/>
        </p:nvGrpSpPr>
        <p:grpSpPr>
          <a:xfrm>
            <a:off x="7435200" y="5400483"/>
            <a:ext cx="1404000" cy="1404000"/>
            <a:chOff x="8001000" y="5400483"/>
            <a:chExt cx="1404000" cy="1404000"/>
          </a:xfrm>
        </p:grpSpPr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B27E1F5C-A93D-465F-8208-E799E6A3AE63}"/>
                </a:ext>
              </a:extLst>
            </p:cNvPr>
            <p:cNvSpPr/>
            <p:nvPr/>
          </p:nvSpPr>
          <p:spPr>
            <a:xfrm>
              <a:off x="8001000" y="5400483"/>
              <a:ext cx="1404000" cy="1404000"/>
            </a:xfrm>
            <a:prstGeom prst="ellipse">
              <a:avLst/>
            </a:prstGeom>
            <a:solidFill>
              <a:srgbClr val="F64047"/>
            </a:solidFill>
            <a:ln>
              <a:solidFill>
                <a:srgbClr val="F640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200"/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0C7108FD-5150-49DC-8DDE-F750C025F7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707"/>
            <a:stretch/>
          </p:blipFill>
          <p:spPr>
            <a:xfrm>
              <a:off x="8083920" y="5586417"/>
              <a:ext cx="1210098" cy="1032132"/>
            </a:xfrm>
            <a:prstGeom prst="rect">
              <a:avLst/>
            </a:prstGeom>
          </p:spPr>
        </p:pic>
      </p:grp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ECEF0EDB-F768-4A6A-855A-8349264E1635}"/>
              </a:ext>
            </a:extLst>
          </p:cNvPr>
          <p:cNvSpPr/>
          <p:nvPr/>
        </p:nvSpPr>
        <p:spPr>
          <a:xfrm>
            <a:off x="10358859" y="5226911"/>
            <a:ext cx="7748839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Growth of heavy-weight freight trains traffic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Up to 20% increase of rail network traffic capacity</a:t>
            </a:r>
            <a:r>
              <a:rPr lang="ru-RU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*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Growth of service speed</a:t>
            </a:r>
            <a:endParaRPr lang="ru-RU" sz="2000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  <a:p>
            <a:pPr marL="126207" indent="-126207">
              <a:lnSpc>
                <a:spcPct val="115000"/>
              </a:lnSpc>
              <a:spcAft>
                <a:spcPts val="1200"/>
              </a:spcAft>
              <a:buClr>
                <a:srgbClr val="F64047"/>
              </a:buClr>
              <a:buSzPct val="120000"/>
              <a:buFont typeface="Wingdings" panose="05000000000000000000" pitchFamily="2" charset="2"/>
              <a:buChar char="§"/>
              <a:tabLst>
                <a:tab pos="270510" algn="l"/>
              </a:tabLst>
            </a:pPr>
            <a:r>
              <a:rPr lang="ru-RU" sz="2000" b="1" dirty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Decrease of infrastructure CAPEX </a:t>
            </a:r>
            <a:endParaRPr lang="ru-RU" sz="2000" b="1" dirty="0" smtClean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6AE3598E-B28B-4DE3-A82A-E704218A4061}"/>
              </a:ext>
            </a:extLst>
          </p:cNvPr>
          <p:cNvCxnSpPr>
            <a:cxnSpLocks/>
          </p:cNvCxnSpPr>
          <p:nvPr/>
        </p:nvCxnSpPr>
        <p:spPr>
          <a:xfrm>
            <a:off x="6477000" y="8191500"/>
            <a:ext cx="11657935" cy="0"/>
          </a:xfrm>
          <a:prstGeom prst="line">
            <a:avLst/>
          </a:prstGeom>
          <a:ln w="3175">
            <a:solidFill>
              <a:srgbClr val="3D424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0E3EB93D-B8B0-415F-971A-59CA2E86C55D}"/>
              </a:ext>
            </a:extLst>
          </p:cNvPr>
          <p:cNvSpPr/>
          <p:nvPr/>
        </p:nvSpPr>
        <p:spPr>
          <a:xfrm>
            <a:off x="6055398" y="10033456"/>
            <a:ext cx="1223260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latin typeface="Century Gothic" panose="020B0502020202020204" pitchFamily="34" charset="0"/>
              </a:rPr>
              <a:t>* </a:t>
            </a:r>
            <a:r>
              <a:rPr lang="en-US" sz="900" dirty="0">
                <a:latin typeface="Century Gothic" panose="020B0502020202020204" pitchFamily="34" charset="0"/>
              </a:rPr>
              <a:t>o</a:t>
            </a:r>
            <a:r>
              <a:rPr lang="en-US" sz="900" dirty="0" smtClean="0">
                <a:latin typeface="Century Gothic" panose="020B0502020202020204" pitchFamily="34" charset="0"/>
              </a:rPr>
              <a:t>n </a:t>
            </a:r>
            <a:r>
              <a:rPr lang="en-US" sz="900" dirty="0">
                <a:latin typeface="Century Gothic" panose="020B0502020202020204" pitchFamily="34" charset="0"/>
              </a:rPr>
              <a:t>the </a:t>
            </a:r>
            <a:r>
              <a:rPr lang="en-US" sz="900" dirty="0" err="1">
                <a:latin typeface="Century Gothic" panose="020B0502020202020204" pitchFamily="34" charset="0"/>
              </a:rPr>
              <a:t>Karymska</a:t>
            </a:r>
            <a:r>
              <a:rPr lang="en-US" sz="900" dirty="0">
                <a:latin typeface="Century Gothic" panose="020B0502020202020204" pitchFamily="34" charset="0"/>
              </a:rPr>
              <a:t>-Nakhodka section with a total length of more than 3 thousand km, the traffic capacity increased by 15 trains per day after equipping the system with 240 3ES5K locomotives (as of 2020)</a:t>
            </a:r>
            <a:r>
              <a:rPr lang="ru-RU" sz="900" dirty="0" smtClean="0">
                <a:latin typeface="Century Gothic" panose="020B0502020202020204" pitchFamily="34" charset="0"/>
              </a:rPr>
              <a:t>)</a:t>
            </a:r>
            <a:endParaRPr lang="ru-RU" sz="900" dirty="0">
              <a:latin typeface="Century Gothic" panose="020B0502020202020204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A205E96-DD0C-4978-85DE-A132B557124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09"/>
          <a:stretch/>
        </p:blipFill>
        <p:spPr>
          <a:xfrm flipH="1">
            <a:off x="12569734" y="8617640"/>
            <a:ext cx="588844" cy="45980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3556A1B-CED3-4689-AF4A-D8FFB9374EE7}"/>
              </a:ext>
            </a:extLst>
          </p:cNvPr>
          <p:cNvSpPr txBox="1"/>
          <p:nvPr/>
        </p:nvSpPr>
        <p:spPr>
          <a:xfrm>
            <a:off x="11800604" y="9275107"/>
            <a:ext cx="2206570" cy="4708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 smtClean="0"/>
              <a:t>MAINLINE</a:t>
            </a:r>
          </a:p>
          <a:p>
            <a:pPr algn="ctr"/>
            <a:r>
              <a:rPr lang="en-US" sz="1200" dirty="0" smtClean="0"/>
              <a:t> TRANSPORT</a:t>
            </a:r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7010A8FE-83AD-4524-A4BE-9248A4DC6155}"/>
              </a:ext>
            </a:extLst>
          </p:cNvPr>
          <p:cNvSpPr/>
          <p:nvPr/>
        </p:nvSpPr>
        <p:spPr>
          <a:xfrm>
            <a:off x="5819355" y="8974692"/>
            <a:ext cx="2954119" cy="700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ru-RU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 </a:t>
            </a: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APPLICATION </a:t>
            </a:r>
          </a:p>
          <a:p>
            <a:pPr algn="ctr">
              <a:lnSpc>
                <a:spcPct val="115000"/>
              </a:lnSpc>
              <a:buClr>
                <a:srgbClr val="66CEF6"/>
              </a:buClr>
              <a:buSzPct val="120000"/>
              <a:tabLst>
                <a:tab pos="270510" algn="l"/>
              </a:tabLst>
            </a:pPr>
            <a:r>
              <a:rPr lang="en-US" b="1" dirty="0" smtClean="0">
                <a:solidFill>
                  <a:srgbClr val="3D4248"/>
                </a:solidFill>
                <a:latin typeface="Century Gothic" panose="020B0502020202020204" pitchFamily="34" charset="0"/>
              </a:rPr>
              <a:t>SCOPE</a:t>
            </a:r>
            <a:endParaRPr lang="en-US" b="1" dirty="0">
              <a:solidFill>
                <a:srgbClr val="3D4248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E023BD-A932-4586-887B-551CC8913509}"/>
              </a:ext>
            </a:extLst>
          </p:cNvPr>
          <p:cNvSpPr txBox="1"/>
          <p:nvPr/>
        </p:nvSpPr>
        <p:spPr>
          <a:xfrm>
            <a:off x="15477146" y="397687"/>
            <a:ext cx="2353654" cy="54744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1600" b="1" cap="all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 </a:t>
            </a:r>
            <a:endParaRPr lang="ru-RU" sz="2400" dirty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52776" y="299192"/>
            <a:ext cx="2078024" cy="451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050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40</TotalTime>
  <Words>1122</Words>
  <Application>Microsoft Office PowerPoint</Application>
  <PresentationFormat>Произвольный</PresentationFormat>
  <Paragraphs>281</Paragraphs>
  <Slides>17</Slides>
  <Notes>1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4" baseType="lpstr">
      <vt:lpstr>Clear Sans Regular</vt:lpstr>
      <vt:lpstr>Verdana</vt:lpstr>
      <vt:lpstr>Century Gothic</vt:lpstr>
      <vt:lpstr>Calibri</vt:lpstr>
      <vt:lpstr>Wingdings</vt:lpstr>
      <vt:lpstr>Arial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ted Beige and Orange Minimalist Company Meeting Presentation</dc:title>
  <dc:creator>Gudin c2g</dc:creator>
  <cp:lastModifiedBy>Natalia Kononenko</cp:lastModifiedBy>
  <cp:revision>448</cp:revision>
  <dcterms:created xsi:type="dcterms:W3CDTF">2006-08-16T00:00:00Z</dcterms:created>
  <dcterms:modified xsi:type="dcterms:W3CDTF">2021-08-24T11:55:36Z</dcterms:modified>
  <dc:identifier>DAD91KNkYBY</dc:identifier>
</cp:coreProperties>
</file>